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sldIdLst>
    <p:sldId id="257" r:id="rId5"/>
    <p:sldId id="258" r:id="rId6"/>
    <p:sldId id="261" r:id="rId7"/>
    <p:sldId id="367" r:id="rId8"/>
    <p:sldId id="298" r:id="rId9"/>
    <p:sldId id="373" r:id="rId10"/>
    <p:sldId id="374" r:id="rId11"/>
    <p:sldId id="375" r:id="rId12"/>
    <p:sldId id="376" r:id="rId13"/>
    <p:sldId id="368" r:id="rId14"/>
    <p:sldId id="377" r:id="rId15"/>
    <p:sldId id="378" r:id="rId16"/>
    <p:sldId id="380" r:id="rId17"/>
    <p:sldId id="372" r:id="rId18"/>
    <p:sldId id="379" r:id="rId19"/>
    <p:sldId id="381" r:id="rId20"/>
    <p:sldId id="382" r:id="rId21"/>
    <p:sldId id="312" r:id="rId22"/>
  </p:sldIdLst>
  <p:sldSz cx="12192000" cy="6858000"/>
  <p:notesSz cx="6858000" cy="9144000"/>
  <p:custDataLst>
    <p:tags r:id="rId2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05033"/>
    <a:srgbClr val="430098"/>
    <a:srgbClr val="6D41AE"/>
    <a:srgbClr val="000000"/>
    <a:srgbClr val="FFD1D1"/>
    <a:srgbClr val="2A0068"/>
    <a:srgbClr val="F0EA00"/>
    <a:srgbClr val="FF6565"/>
    <a:srgbClr val="D7D8D7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8876F5-C2B1-412D-A29E-A708E86085AC}" v="9643" dt="2021-11-19T10:58:01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792" autoAdjust="0"/>
  </p:normalViewPr>
  <p:slideViewPr>
    <p:cSldViewPr snapToGrid="0">
      <p:cViewPr varScale="1">
        <p:scale>
          <a:sx n="63" d="100"/>
          <a:sy n="63" d="100"/>
        </p:scale>
        <p:origin x="732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storiadis Pauline" userId="ccb5c65c-f81e-476d-a380-bc5d932e3d66" providerId="ADAL" clId="{675A59F1-360C-4A95-9C60-84DD7B679F96}"/>
    <pc:docChg chg="undo custSel delSld modSld">
      <pc:chgData name="Castoriadis Pauline" userId="ccb5c65c-f81e-476d-a380-bc5d932e3d66" providerId="ADAL" clId="{675A59F1-360C-4A95-9C60-84DD7B679F96}" dt="2021-11-12T09:43:18.770" v="4341" actId="20577"/>
      <pc:docMkLst>
        <pc:docMk/>
      </pc:docMkLst>
      <pc:sldChg chg="del">
        <pc:chgData name="Castoriadis Pauline" userId="ccb5c65c-f81e-476d-a380-bc5d932e3d66" providerId="ADAL" clId="{675A59F1-360C-4A95-9C60-84DD7B679F96}" dt="2021-11-11T12:55:56.453" v="1" actId="47"/>
        <pc:sldMkLst>
          <pc:docMk/>
          <pc:sldMk cId="297780784" sldId="342"/>
        </pc:sldMkLst>
      </pc:sldChg>
      <pc:sldChg chg="del">
        <pc:chgData name="Castoriadis Pauline" userId="ccb5c65c-f81e-476d-a380-bc5d932e3d66" providerId="ADAL" clId="{675A59F1-360C-4A95-9C60-84DD7B679F96}" dt="2021-11-11T12:55:56.915" v="2" actId="47"/>
        <pc:sldMkLst>
          <pc:docMk/>
          <pc:sldMk cId="3102308727" sldId="343"/>
        </pc:sldMkLst>
      </pc:sldChg>
      <pc:sldChg chg="addSp delSp modSp mod">
        <pc:chgData name="Castoriadis Pauline" userId="ccb5c65c-f81e-476d-a380-bc5d932e3d66" providerId="ADAL" clId="{675A59F1-360C-4A95-9C60-84DD7B679F96}" dt="2021-11-12T09:31:52.634" v="3109" actId="20577"/>
        <pc:sldMkLst>
          <pc:docMk/>
          <pc:sldMk cId="2224986252" sldId="346"/>
        </pc:sldMkLst>
        <pc:spChg chg="mod ord">
          <ac:chgData name="Castoriadis Pauline" userId="ccb5c65c-f81e-476d-a380-bc5d932e3d66" providerId="ADAL" clId="{675A59F1-360C-4A95-9C60-84DD7B679F96}" dt="2021-11-11T13:53:24.601" v="1448"/>
          <ac:spMkLst>
            <pc:docMk/>
            <pc:sldMk cId="2224986252" sldId="346"/>
            <ac:spMk id="4" creationId="{DF54CB6E-522B-4B35-B33C-9349148DA1D7}"/>
          </ac:spMkLst>
        </pc:spChg>
        <pc:spChg chg="mod ord">
          <ac:chgData name="Castoriadis Pauline" userId="ccb5c65c-f81e-476d-a380-bc5d932e3d66" providerId="ADAL" clId="{675A59F1-360C-4A95-9C60-84DD7B679F96}" dt="2021-11-11T13:53:24.601" v="1454"/>
          <ac:spMkLst>
            <pc:docMk/>
            <pc:sldMk cId="2224986252" sldId="346"/>
            <ac:spMk id="8" creationId="{0B723D89-8197-49BB-A6B5-DF2AB9339731}"/>
          </ac:spMkLst>
        </pc:spChg>
        <pc:spChg chg="mod ord">
          <ac:chgData name="Castoriadis Pauline" userId="ccb5c65c-f81e-476d-a380-bc5d932e3d66" providerId="ADAL" clId="{675A59F1-360C-4A95-9C60-84DD7B679F96}" dt="2021-11-11T13:53:24.601" v="1456"/>
          <ac:spMkLst>
            <pc:docMk/>
            <pc:sldMk cId="2224986252" sldId="346"/>
            <ac:spMk id="9" creationId="{4F99489C-536A-448E-BD2B-1C5C02464FBE}"/>
          </ac:spMkLst>
        </pc:spChg>
        <pc:spChg chg="mod ord">
          <ac:chgData name="Castoriadis Pauline" userId="ccb5c65c-f81e-476d-a380-bc5d932e3d66" providerId="ADAL" clId="{675A59F1-360C-4A95-9C60-84DD7B679F96}" dt="2021-11-11T13:53:24.604" v="1462"/>
          <ac:spMkLst>
            <pc:docMk/>
            <pc:sldMk cId="2224986252" sldId="346"/>
            <ac:spMk id="12" creationId="{D2B4BEAE-9A3C-44D1-9089-922F590CD36A}"/>
          </ac:spMkLst>
        </pc:spChg>
        <pc:spChg chg="mod ord">
          <ac:chgData name="Castoriadis Pauline" userId="ccb5c65c-f81e-476d-a380-bc5d932e3d66" providerId="ADAL" clId="{675A59F1-360C-4A95-9C60-84DD7B679F96}" dt="2021-11-11T13:53:24.604" v="1464"/>
          <ac:spMkLst>
            <pc:docMk/>
            <pc:sldMk cId="2224986252" sldId="346"/>
            <ac:spMk id="13" creationId="{7BC0740C-099E-4D8B-95C4-C630ADF5DC9F}"/>
          </ac:spMkLst>
        </pc:spChg>
        <pc:spChg chg="mod ord">
          <ac:chgData name="Castoriadis Pauline" userId="ccb5c65c-f81e-476d-a380-bc5d932e3d66" providerId="ADAL" clId="{675A59F1-360C-4A95-9C60-84DD7B679F96}" dt="2021-11-11T13:53:24.604" v="1466"/>
          <ac:spMkLst>
            <pc:docMk/>
            <pc:sldMk cId="2224986252" sldId="346"/>
            <ac:spMk id="14" creationId="{38E29041-C807-4B52-A262-1DE73764EAEB}"/>
          </ac:spMkLst>
        </pc:spChg>
        <pc:spChg chg="mod ord">
          <ac:chgData name="Castoriadis Pauline" userId="ccb5c65c-f81e-476d-a380-bc5d932e3d66" providerId="ADAL" clId="{675A59F1-360C-4A95-9C60-84DD7B679F96}" dt="2021-11-11T13:53:24.606" v="1470"/>
          <ac:spMkLst>
            <pc:docMk/>
            <pc:sldMk cId="2224986252" sldId="346"/>
            <ac:spMk id="16" creationId="{D9096D84-0A6F-47F2-A98C-5977F70EFE38}"/>
          </ac:spMkLst>
        </pc:spChg>
        <pc:spChg chg="mod ord">
          <ac:chgData name="Castoriadis Pauline" userId="ccb5c65c-f81e-476d-a380-bc5d932e3d66" providerId="ADAL" clId="{675A59F1-360C-4A95-9C60-84DD7B679F96}" dt="2021-11-11T13:55:46.450" v="1735" actId="20577"/>
          <ac:spMkLst>
            <pc:docMk/>
            <pc:sldMk cId="2224986252" sldId="346"/>
            <ac:spMk id="19" creationId="{CEA57582-F555-4F22-BE74-52E84792413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2" creationId="{C23A17EE-FFDD-4B83-AAC6-1FBBC7E6466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4" creationId="{73C7551B-6691-4B87-942E-A994D719EF97}"/>
          </ac:spMkLst>
        </pc:spChg>
        <pc:spChg chg="del">
          <ac:chgData name="Castoriadis Pauline" userId="ccb5c65c-f81e-476d-a380-bc5d932e3d66" providerId="ADAL" clId="{675A59F1-360C-4A95-9C60-84DD7B679F96}" dt="2021-11-11T13:42:37.942" v="1335" actId="478"/>
          <ac:spMkLst>
            <pc:docMk/>
            <pc:sldMk cId="2224986252" sldId="346"/>
            <ac:spMk id="25" creationId="{141EA20A-1FA3-4DBF-8D97-32323CF48B04}"/>
          </ac:spMkLst>
        </pc:spChg>
        <pc:spChg chg="del">
          <ac:chgData name="Castoriadis Pauline" userId="ccb5c65c-f81e-476d-a380-bc5d932e3d66" providerId="ADAL" clId="{675A59F1-360C-4A95-9C60-84DD7B679F96}" dt="2021-11-11T13:42:35.895" v="1334" actId="478"/>
          <ac:spMkLst>
            <pc:docMk/>
            <pc:sldMk cId="2224986252" sldId="346"/>
            <ac:spMk id="26" creationId="{92A6E12D-EC53-4F05-BF27-ED37CC50389D}"/>
          </ac:spMkLst>
        </pc:spChg>
        <pc:spChg chg="del mod ord">
          <ac:chgData name="Castoriadis Pauline" userId="ccb5c65c-f81e-476d-a380-bc5d932e3d66" providerId="ADAL" clId="{675A59F1-360C-4A95-9C60-84DD7B679F96}" dt="2021-11-11T14:01:26.606" v="2127" actId="478"/>
          <ac:spMkLst>
            <pc:docMk/>
            <pc:sldMk cId="2224986252" sldId="346"/>
            <ac:spMk id="27" creationId="{1D118936-8D14-4895-8EE5-F2FBE2C7D6DC}"/>
          </ac:spMkLst>
        </pc:spChg>
        <pc:spChg chg="add mod ord">
          <ac:chgData name="Castoriadis Pauline" userId="ccb5c65c-f81e-476d-a380-bc5d932e3d66" providerId="ADAL" clId="{675A59F1-360C-4A95-9C60-84DD7B679F96}" dt="2021-11-11T13:53:24.609" v="1490"/>
          <ac:spMkLst>
            <pc:docMk/>
            <pc:sldMk cId="2224986252" sldId="346"/>
            <ac:spMk id="28" creationId="{1ED9212B-1AF0-4037-A048-7DCE74B97BCD}"/>
          </ac:spMkLst>
        </pc:spChg>
        <pc:spChg chg="add mod ord">
          <ac:chgData name="Castoriadis Pauline" userId="ccb5c65c-f81e-476d-a380-bc5d932e3d66" providerId="ADAL" clId="{675A59F1-360C-4A95-9C60-84DD7B679F96}" dt="2021-11-11T13:53:24.611" v="1494"/>
          <ac:spMkLst>
            <pc:docMk/>
            <pc:sldMk cId="2224986252" sldId="346"/>
            <ac:spMk id="31" creationId="{5A4915FA-E770-4A5A-8715-3FB953935AF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5" creationId="{6B6FABE8-600D-4788-9D4A-9A6ACA9EF7D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6" creationId="{5559FF87-66E2-4990-B2CC-28ACDE1569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7" creationId="{3C3DE610-E444-4D8A-B5E2-3E4A618C7A28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8" creationId="{E73A281F-1C22-4E8C-875F-BEE62386E222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9" creationId="{0E8F7AFF-172D-4F97-80F8-92ADB6E3FD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40" creationId="{A8330D96-35E8-4FA2-A26C-A750B26F2BC6}"/>
          </ac:spMkLst>
        </pc:spChg>
        <pc:spChg chg="add mod">
          <ac:chgData name="Castoriadis Pauline" userId="ccb5c65c-f81e-476d-a380-bc5d932e3d66" providerId="ADAL" clId="{675A59F1-360C-4A95-9C60-84DD7B679F96}" dt="2021-11-12T09:31:52.634" v="3109" actId="20577"/>
          <ac:spMkLst>
            <pc:docMk/>
            <pc:sldMk cId="2224986252" sldId="346"/>
            <ac:spMk id="44" creationId="{341A01BD-1D64-4602-9464-E4E0A8048A97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6" creationId="{36BA0393-965D-4EEA-BC91-E52043EAB695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7" creationId="{E1195D9B-2E02-4C3F-AA66-88B4E6F347E4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8" creationId="{82EF88B3-F499-48DB-B9E7-BDE08F114140}"/>
          </ac:spMkLst>
        </pc:spChg>
        <pc:grpChg chg="add mod">
          <ac:chgData name="Castoriadis Pauline" userId="ccb5c65c-f81e-476d-a380-bc5d932e3d66" providerId="ADAL" clId="{675A59F1-360C-4A95-9C60-84DD7B679F96}" dt="2021-11-11T14:01:52.161" v="2170"/>
          <ac:grpSpMkLst>
            <pc:docMk/>
            <pc:sldMk cId="2224986252" sldId="346"/>
            <ac:grpSpMk id="45" creationId="{94C3D884-0F87-46F3-B9E0-161AAB49818A}"/>
          </ac:grpSpMkLst>
        </pc:grpChg>
        <pc:graphicFrameChg chg="add mod ord modVis">
          <ac:chgData name="Castoriadis Pauline" userId="ccb5c65c-f81e-476d-a380-bc5d932e3d66" providerId="ADAL" clId="{675A59F1-360C-4A95-9C60-84DD7B679F96}" dt="2021-11-11T13:53:24.644" v="1521"/>
          <ac:graphicFrameMkLst>
            <pc:docMk/>
            <pc:sldMk cId="2224986252" sldId="346"/>
            <ac:graphicFrameMk id="41" creationId="{EF049ABA-E141-4A0E-9F1B-1D5020428026}"/>
          </ac:graphicFrameMkLst>
        </pc:graphicFrameChg>
        <pc:picChg chg="del">
          <ac:chgData name="Castoriadis Pauline" userId="ccb5c65c-f81e-476d-a380-bc5d932e3d66" providerId="ADAL" clId="{675A59F1-360C-4A95-9C60-84DD7B679F96}" dt="2021-11-11T13:41:25.157" v="1329" actId="478"/>
          <ac:picMkLst>
            <pc:docMk/>
            <pc:sldMk cId="2224986252" sldId="346"/>
            <ac:picMk id="3" creationId="{38896F42-DD1A-49F4-8626-9F5C5E8E7027}"/>
          </ac:picMkLst>
        </pc:picChg>
        <pc:picChg chg="del mod">
          <ac:chgData name="Castoriadis Pauline" userId="ccb5c65c-f81e-476d-a380-bc5d932e3d66" providerId="ADAL" clId="{675A59F1-360C-4A95-9C60-84DD7B679F96}" dt="2021-11-11T13:41:28.857" v="1332" actId="478"/>
          <ac:picMkLst>
            <pc:docMk/>
            <pc:sldMk cId="2224986252" sldId="346"/>
            <ac:picMk id="7" creationId="{D5537917-4EC5-42B7-8452-FD2367B148AC}"/>
          </ac:picMkLst>
        </pc:picChg>
        <pc:picChg chg="mod ord">
          <ac:chgData name="Castoriadis Pauline" userId="ccb5c65c-f81e-476d-a380-bc5d932e3d66" providerId="ADAL" clId="{675A59F1-360C-4A95-9C60-84DD7B679F96}" dt="2021-11-11T13:53:24.606" v="1474"/>
          <ac:picMkLst>
            <pc:docMk/>
            <pc:sldMk cId="2224986252" sldId="346"/>
            <ac:picMk id="18" creationId="{B5D6BBC4-355C-4DE1-A5D1-B56B6B540AC6}"/>
          </ac:picMkLst>
        </pc:picChg>
        <pc:picChg chg="add mod or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23" creationId="{AEF2BE23-E08C-4DBD-BA8F-402E6A7742EA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2"/>
          <ac:picMkLst>
            <pc:docMk/>
            <pc:sldMk cId="2224986252" sldId="346"/>
            <ac:picMk id="30" creationId="{C3ADF2D1-C55A-4FB4-9E75-12D9A8101BB6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6"/>
          <ac:picMkLst>
            <pc:docMk/>
            <pc:sldMk cId="2224986252" sldId="346"/>
            <ac:picMk id="32" creationId="{AE88B628-B0BA-4427-BA44-E0A6EE43AE97}"/>
          </ac:picMkLst>
        </pc:picChg>
        <pc:picChg chg="add mod ord modCrop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34" creationId="{BE779D01-090C-4F43-BFA0-56B0DDEAD3DC}"/>
          </ac:picMkLst>
        </pc:picChg>
        <pc:picChg chg="add mo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43" creationId="{60505461-23F7-4586-BA4F-EB138FD6B1C1}"/>
          </ac:picMkLst>
        </pc:picChg>
        <pc:cxnChg chg="mod ord">
          <ac:chgData name="Castoriadis Pauline" userId="ccb5c65c-f81e-476d-a380-bc5d932e3d66" providerId="ADAL" clId="{675A59F1-360C-4A95-9C60-84DD7B679F96}" dt="2021-11-11T13:53:24.601" v="1450"/>
          <ac:cxnSpMkLst>
            <pc:docMk/>
            <pc:sldMk cId="2224986252" sldId="346"/>
            <ac:cxnSpMk id="5" creationId="{B2F6EEEA-A8A9-4C1F-926C-20F2F822812C}"/>
          </ac:cxnSpMkLst>
        </pc:cxnChg>
        <pc:cxnChg chg="mod ord">
          <ac:chgData name="Castoriadis Pauline" userId="ccb5c65c-f81e-476d-a380-bc5d932e3d66" providerId="ADAL" clId="{675A59F1-360C-4A95-9C60-84DD7B679F96}" dt="2021-11-11T13:53:24.601" v="1452"/>
          <ac:cxnSpMkLst>
            <pc:docMk/>
            <pc:sldMk cId="2224986252" sldId="346"/>
            <ac:cxnSpMk id="6" creationId="{51E44150-4B56-43D9-92A2-CDA20E76C16E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58"/>
          <ac:cxnSpMkLst>
            <pc:docMk/>
            <pc:sldMk cId="2224986252" sldId="346"/>
            <ac:cxnSpMk id="10" creationId="{78CB82DC-52B5-4CDA-B471-EBE2491CEE14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0"/>
          <ac:cxnSpMkLst>
            <pc:docMk/>
            <pc:sldMk cId="2224986252" sldId="346"/>
            <ac:cxnSpMk id="11" creationId="{83A18BF0-7C5C-4693-B316-19F43ADC5231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8"/>
          <ac:cxnSpMkLst>
            <pc:docMk/>
            <pc:sldMk cId="2224986252" sldId="346"/>
            <ac:cxnSpMk id="15" creationId="{E68304F2-4CC0-4D33-ADC3-3C7A94B8FEF8}"/>
          </ac:cxnSpMkLst>
        </pc:cxnChg>
        <pc:cxnChg chg="mod ord">
          <ac:chgData name="Castoriadis Pauline" userId="ccb5c65c-f81e-476d-a380-bc5d932e3d66" providerId="ADAL" clId="{675A59F1-360C-4A95-9C60-84DD7B679F96}" dt="2021-11-11T13:53:24.606" v="1472"/>
          <ac:cxnSpMkLst>
            <pc:docMk/>
            <pc:sldMk cId="2224986252" sldId="346"/>
            <ac:cxnSpMk id="17" creationId="{27A1BBAA-226E-444B-96C7-D3CAF5938344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0" creationId="{7349F1C5-95DE-4461-9BF1-7B926E368BBE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1" creationId="{D6277311-312D-417E-A2DE-1545341F424D}"/>
          </ac:cxnSpMkLst>
        </pc:cxnChg>
        <pc:cxnChg chg="add del mod ord">
          <ac:chgData name="Castoriadis Pauline" userId="ccb5c65c-f81e-476d-a380-bc5d932e3d66" providerId="ADAL" clId="{675A59F1-360C-4A95-9C60-84DD7B679F96}" dt="2021-11-11T14:01:25.185" v="2126" actId="478"/>
          <ac:cxnSpMkLst>
            <pc:docMk/>
            <pc:sldMk cId="2224986252" sldId="346"/>
            <ac:cxnSpMk id="29" creationId="{464BA4DF-E46A-41B3-8FAC-5502AF995817}"/>
          </ac:cxnSpMkLst>
        </pc:cxnChg>
      </pc:sldChg>
      <pc:sldChg chg="del">
        <pc:chgData name="Castoriadis Pauline" userId="ccb5c65c-f81e-476d-a380-bc5d932e3d66" providerId="ADAL" clId="{675A59F1-360C-4A95-9C60-84DD7B679F96}" dt="2021-11-11T12:55:56.086" v="0" actId="47"/>
        <pc:sldMkLst>
          <pc:docMk/>
          <pc:sldMk cId="187492092" sldId="351"/>
        </pc:sldMkLst>
      </pc:sldChg>
      <pc:sldChg chg="addSp modSp mod">
        <pc:chgData name="Castoriadis Pauline" userId="ccb5c65c-f81e-476d-a380-bc5d932e3d66" providerId="ADAL" clId="{675A59F1-360C-4A95-9C60-84DD7B679F96}" dt="2021-11-12T09:30:23.423" v="3076" actId="1076"/>
        <pc:sldMkLst>
          <pc:docMk/>
          <pc:sldMk cId="786632353" sldId="353"/>
        </pc:sldMkLst>
        <pc:spChg chg="add mod">
          <ac:chgData name="Castoriadis Pauline" userId="ccb5c65c-f81e-476d-a380-bc5d932e3d66" providerId="ADAL" clId="{675A59F1-360C-4A95-9C60-84DD7B679F96}" dt="2021-11-12T09:30:23.423" v="3076" actId="1076"/>
          <ac:spMkLst>
            <pc:docMk/>
            <pc:sldMk cId="786632353" sldId="353"/>
            <ac:spMk id="2" creationId="{55CD2EDD-083E-4456-A3A3-7D7AC3844EFE}"/>
          </ac:spMkLst>
        </pc:spChg>
        <pc:spChg chg="mod">
          <ac:chgData name="Castoriadis Pauline" userId="ccb5c65c-f81e-476d-a380-bc5d932e3d66" providerId="ADAL" clId="{675A59F1-360C-4A95-9C60-84DD7B679F96}" dt="2021-11-11T13:17:33.690" v="737" actId="20577"/>
          <ac:spMkLst>
            <pc:docMk/>
            <pc:sldMk cId="786632353" sldId="353"/>
            <ac:spMk id="110" creationId="{6895FA33-55E5-409B-9793-AC4943DF467A}"/>
          </ac:spMkLst>
        </pc:spChg>
        <pc:spChg chg="mod">
          <ac:chgData name="Castoriadis Pauline" userId="ccb5c65c-f81e-476d-a380-bc5d932e3d66" providerId="ADAL" clId="{675A59F1-360C-4A95-9C60-84DD7B679F96}" dt="2021-11-11T13:16:36.050" v="710" actId="20577"/>
          <ac:spMkLst>
            <pc:docMk/>
            <pc:sldMk cId="786632353" sldId="353"/>
            <ac:spMk id="111" creationId="{655DF0F7-B123-4976-9C8C-E15BE0BD138C}"/>
          </ac:spMkLst>
        </pc:spChg>
        <pc:spChg chg="mod">
          <ac:chgData name="Castoriadis Pauline" userId="ccb5c65c-f81e-476d-a380-bc5d932e3d66" providerId="ADAL" clId="{675A59F1-360C-4A95-9C60-84DD7B679F96}" dt="2021-11-11T13:15:48.104" v="653" actId="20577"/>
          <ac:spMkLst>
            <pc:docMk/>
            <pc:sldMk cId="786632353" sldId="353"/>
            <ac:spMk id="121" creationId="{B315C959-EE91-491F-B3D2-480D0EB4BC5F}"/>
          </ac:spMkLst>
        </pc:spChg>
        <pc:spChg chg="mod">
          <ac:chgData name="Castoriadis Pauline" userId="ccb5c65c-f81e-476d-a380-bc5d932e3d66" providerId="ADAL" clId="{675A59F1-360C-4A95-9C60-84DD7B679F96}" dt="2021-11-11T13:20:38.039" v="745" actId="13926"/>
          <ac:spMkLst>
            <pc:docMk/>
            <pc:sldMk cId="786632353" sldId="353"/>
            <ac:spMk id="123" creationId="{E9F3E791-2BF4-4562-9AB2-8EF23D26DC4E}"/>
          </ac:spMkLst>
        </pc:spChg>
        <pc:spChg chg="mod">
          <ac:chgData name="Castoriadis Pauline" userId="ccb5c65c-f81e-476d-a380-bc5d932e3d66" providerId="ADAL" clId="{675A59F1-360C-4A95-9C60-84DD7B679F96}" dt="2021-11-11T13:20:40.014" v="746" actId="13926"/>
          <ac:spMkLst>
            <pc:docMk/>
            <pc:sldMk cId="786632353" sldId="353"/>
            <ac:spMk id="124" creationId="{6F8EBD92-6361-4E44-99BA-188275BE6CD4}"/>
          </ac:spMkLst>
        </pc:spChg>
      </pc:sldChg>
      <pc:sldChg chg="addSp modSp mod">
        <pc:chgData name="Castoriadis Pauline" userId="ccb5c65c-f81e-476d-a380-bc5d932e3d66" providerId="ADAL" clId="{675A59F1-360C-4A95-9C60-84DD7B679F96}" dt="2021-11-12T09:43:18.770" v="4341" actId="20577"/>
        <pc:sldMkLst>
          <pc:docMk/>
          <pc:sldMk cId="1328712484" sldId="356"/>
        </pc:sldMkLst>
        <pc:spChg chg="mod">
          <ac:chgData name="Castoriadis Pauline" userId="ccb5c65c-f81e-476d-a380-bc5d932e3d66" providerId="ADAL" clId="{675A59F1-360C-4A95-9C60-84DD7B679F96}" dt="2021-11-11T13:54:35.336" v="1575" actId="13926"/>
          <ac:spMkLst>
            <pc:docMk/>
            <pc:sldMk cId="1328712484" sldId="356"/>
            <ac:spMk id="20" creationId="{8A1E23FD-ADC3-4649-8E23-2D666016D65A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1" creationId="{495C761A-85B5-4CDE-81B9-E3AC19242490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3" creationId="{5D6AFCBC-0257-45CB-A154-1FB71450A85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6" creationId="{B2D7E056-83A9-4DA7-8E9C-B99180FBFEB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7" creationId="{95F5907B-6D8E-411D-AE05-4CC24FC31D05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8" creationId="{90AECF79-9D27-4D1F-B9E6-4428A11EAFB3}"/>
          </ac:spMkLst>
        </pc:spChg>
        <pc:spChg chg="add mod">
          <ac:chgData name="Castoriadis Pauline" userId="ccb5c65c-f81e-476d-a380-bc5d932e3d66" providerId="ADAL" clId="{675A59F1-360C-4A95-9C60-84DD7B679F96}" dt="2021-11-12T09:43:18.770" v="4341" actId="20577"/>
          <ac:spMkLst>
            <pc:docMk/>
            <pc:sldMk cId="1328712484" sldId="356"/>
            <ac:spMk id="29" creationId="{4F16B663-B3AE-45FC-A113-C9EEE706D7DC}"/>
          </ac:spMkLst>
        </pc:spChg>
        <pc:grpChg chg="add mod">
          <ac:chgData name="Castoriadis Pauline" userId="ccb5c65c-f81e-476d-a380-bc5d932e3d66" providerId="ADAL" clId="{675A59F1-360C-4A95-9C60-84DD7B679F96}" dt="2021-11-11T14:01:53.794" v="2171"/>
          <ac:grpSpMkLst>
            <pc:docMk/>
            <pc:sldMk cId="1328712484" sldId="356"/>
            <ac:grpSpMk id="25" creationId="{AF159790-A16E-49EA-9D1D-AA7078CD72EA}"/>
          </ac:grpSpMkLst>
        </pc:grp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2" creationId="{78BB0ED7-E310-47D7-9AF9-53587D38D660}"/>
          </ac:picMkLst>
        </pc:pic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4" creationId="{5AB7F323-3F13-4A20-BD94-59597027E5DD}"/>
          </ac:picMkLst>
        </pc:picChg>
      </pc:sldChg>
      <pc:sldChg chg="addSp delSp modSp mod">
        <pc:chgData name="Castoriadis Pauline" userId="ccb5c65c-f81e-476d-a380-bc5d932e3d66" providerId="ADAL" clId="{675A59F1-360C-4A95-9C60-84DD7B679F96}" dt="2021-11-12T09:31:16.243" v="3078" actId="478"/>
        <pc:sldMkLst>
          <pc:docMk/>
          <pc:sldMk cId="2290166486" sldId="357"/>
        </pc:sldMkLst>
        <pc:spChg chg="mod ord">
          <ac:chgData name="Castoriadis Pauline" userId="ccb5c65c-f81e-476d-a380-bc5d932e3d66" providerId="ADAL" clId="{675A59F1-360C-4A95-9C60-84DD7B679F96}" dt="2021-11-11T13:52:36.810" v="1411" actId="13926"/>
          <ac:spMkLst>
            <pc:docMk/>
            <pc:sldMk cId="2290166486" sldId="357"/>
            <ac:spMk id="7" creationId="{519DBD6B-6811-4A71-A5F5-56637EA5E06E}"/>
          </ac:spMkLst>
        </pc:spChg>
        <pc:spChg chg="mod ord">
          <ac:chgData name="Castoriadis Pauline" userId="ccb5c65c-f81e-476d-a380-bc5d932e3d66" providerId="ADAL" clId="{675A59F1-360C-4A95-9C60-84DD7B679F96}" dt="2021-11-11T13:29:56.537" v="1144"/>
          <ac:spMkLst>
            <pc:docMk/>
            <pc:sldMk cId="2290166486" sldId="357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675A59F1-360C-4A95-9C60-84DD7B679F96}" dt="2021-11-11T13:29:56.537" v="1150"/>
          <ac:spMkLst>
            <pc:docMk/>
            <pc:sldMk cId="2290166486" sldId="357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675A59F1-360C-4A95-9C60-84DD7B679F96}" dt="2021-11-11T13:29:56.537" v="1152"/>
          <ac:spMkLst>
            <pc:docMk/>
            <pc:sldMk cId="2290166486" sldId="357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675A59F1-360C-4A95-9C60-84DD7B679F96}" dt="2021-11-11T13:29:56.537" v="1140"/>
          <ac:spMkLst>
            <pc:docMk/>
            <pc:sldMk cId="2290166486" sldId="357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675A59F1-360C-4A95-9C60-84DD7B679F96}" dt="2021-11-11T13:29:56.537" v="1158"/>
          <ac:spMkLst>
            <pc:docMk/>
            <pc:sldMk cId="2290166486" sldId="357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675A59F1-360C-4A95-9C60-84DD7B679F96}" dt="2021-11-11T13:29:56.537" v="1160"/>
          <ac:spMkLst>
            <pc:docMk/>
            <pc:sldMk cId="2290166486" sldId="357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675A59F1-360C-4A95-9C60-84DD7B679F96}" dt="2021-11-11T13:29:56.537" v="1162"/>
          <ac:spMkLst>
            <pc:docMk/>
            <pc:sldMk cId="2290166486" sldId="357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675A59F1-360C-4A95-9C60-84DD7B679F96}" dt="2021-11-11T13:29:56.537" v="1166"/>
          <ac:spMkLst>
            <pc:docMk/>
            <pc:sldMk cId="2290166486" sldId="357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675A59F1-360C-4A95-9C60-84DD7B679F96}" dt="2021-11-11T13:29:56.553" v="1172"/>
          <ac:spMkLst>
            <pc:docMk/>
            <pc:sldMk cId="2290166486" sldId="357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675A59F1-360C-4A95-9C60-84DD7B679F96}" dt="2021-11-11T13:29:56.553" v="1176"/>
          <ac:spMkLst>
            <pc:docMk/>
            <pc:sldMk cId="2290166486" sldId="357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1" creationId="{8074D274-884D-4791-A85E-CEDAC0DB296A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2" creationId="{EF6161A7-434C-4BC7-9D15-AF15AAE1F4FE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3" creationId="{F23B7D4E-23C1-4415-89A5-31E9B7A515DF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4" creationId="{53D18165-CDA3-4DEA-A87D-560C30B3F98D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7" creationId="{0A158B93-0FEB-40C6-8ED6-59DF8FB35912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8" creationId="{EAA358C3-9FBD-4092-8BBD-4A99601118EB}"/>
          </ac:spMkLst>
        </pc:spChg>
        <pc:spChg chg="mod ord">
          <ac:chgData name="Castoriadis Pauline" userId="ccb5c65c-f81e-476d-a380-bc5d932e3d66" providerId="ADAL" clId="{675A59F1-360C-4A95-9C60-84DD7B679F96}" dt="2021-11-11T13:30:44.609" v="1289" actId="404"/>
          <ac:spMkLst>
            <pc:docMk/>
            <pc:sldMk cId="2290166486" sldId="357"/>
            <ac:spMk id="160" creationId="{0E0CB571-2D24-45EA-8CF5-A0EAE7A96D03}"/>
          </ac:spMkLst>
        </pc:spChg>
        <pc:spChg chg="mod ord">
          <ac:chgData name="Castoriadis Pauline" userId="ccb5c65c-f81e-476d-a380-bc5d932e3d66" providerId="ADAL" clId="{675A59F1-360C-4A95-9C60-84DD7B679F96}" dt="2021-11-11T13:30:36.695" v="1283" actId="404"/>
          <ac:spMkLst>
            <pc:docMk/>
            <pc:sldMk cId="2290166486" sldId="357"/>
            <ac:spMk id="162" creationId="{A3054849-39D8-49E2-BB8A-0542F0C5572B}"/>
          </ac:spMkLst>
        </pc:spChg>
        <pc:spChg chg="mod ord">
          <ac:chgData name="Castoriadis Pauline" userId="ccb5c65c-f81e-476d-a380-bc5d932e3d66" providerId="ADAL" clId="{675A59F1-360C-4A95-9C60-84DD7B679F96}" dt="2021-11-11T13:36:24.704" v="1309" actId="1036"/>
          <ac:spMkLst>
            <pc:docMk/>
            <pc:sldMk cId="2290166486" sldId="357"/>
            <ac:spMk id="165" creationId="{7EF0CF18-0944-43E7-BC96-C125BC69ED4C}"/>
          </ac:spMkLst>
        </pc:spChg>
        <pc:spChg chg="del mod ord">
          <ac:chgData name="Castoriadis Pauline" userId="ccb5c65c-f81e-476d-a380-bc5d932e3d66" providerId="ADAL" clId="{675A59F1-360C-4A95-9C60-84DD7B679F96}" dt="2021-11-11T13:36:35.071" v="1314" actId="478"/>
          <ac:spMkLst>
            <pc:docMk/>
            <pc:sldMk cId="2290166486" sldId="357"/>
            <ac:spMk id="166" creationId="{C8B7288B-DEF3-4E1B-86FE-927776B42B75}"/>
          </ac:spMkLst>
        </pc:spChg>
        <pc:spChg chg="mod ord">
          <ac:chgData name="Castoriadis Pauline" userId="ccb5c65c-f81e-476d-a380-bc5d932e3d66" providerId="ADAL" clId="{675A59F1-360C-4A95-9C60-84DD7B679F96}" dt="2021-11-11T13:40:57.394" v="1322" actId="1076"/>
          <ac:spMkLst>
            <pc:docMk/>
            <pc:sldMk cId="2290166486" sldId="357"/>
            <ac:spMk id="167" creationId="{FF9E7612-7E9D-4672-AB3E-99E270F25369}"/>
          </ac:spMkLst>
        </pc:spChg>
        <pc:spChg chg="mod ord">
          <ac:chgData name="Castoriadis Pauline" userId="ccb5c65c-f81e-476d-a380-bc5d932e3d66" providerId="ADAL" clId="{675A59F1-360C-4A95-9C60-84DD7B679F96}" dt="2021-11-11T13:36:30.982" v="1313" actId="1036"/>
          <ac:spMkLst>
            <pc:docMk/>
            <pc:sldMk cId="2290166486" sldId="357"/>
            <ac:spMk id="168" creationId="{AF11021F-CCC3-4ACA-810C-D85A434F010D}"/>
          </ac:spMkLst>
        </pc:spChg>
        <pc:spChg chg="mod ord">
          <ac:chgData name="Castoriadis Pauline" userId="ccb5c65c-f81e-476d-a380-bc5d932e3d66" providerId="ADAL" clId="{675A59F1-360C-4A95-9C60-84DD7B679F96}" dt="2021-11-11T13:36:55.432" v="1318" actId="1076"/>
          <ac:spMkLst>
            <pc:docMk/>
            <pc:sldMk cId="2290166486" sldId="357"/>
            <ac:spMk id="169" creationId="{A057C259-14C2-463C-A3C7-A105D99C6D8C}"/>
          </ac:spMkLst>
        </pc:spChg>
        <pc:spChg chg="mod ord">
          <ac:chgData name="Castoriadis Pauline" userId="ccb5c65c-f81e-476d-a380-bc5d932e3d66" providerId="ADAL" clId="{675A59F1-360C-4A95-9C60-84DD7B679F96}" dt="2021-11-11T13:37:01.430" v="1320" actId="14100"/>
          <ac:spMkLst>
            <pc:docMk/>
            <pc:sldMk cId="2290166486" sldId="357"/>
            <ac:spMk id="170" creationId="{5534875F-D4F9-42C4-AF96-83299CC67D7B}"/>
          </ac:spMkLst>
        </pc:spChg>
        <pc:spChg chg="mod ord">
          <ac:chgData name="Castoriadis Pauline" userId="ccb5c65c-f81e-476d-a380-bc5d932e3d66" providerId="ADAL" clId="{675A59F1-360C-4A95-9C60-84DD7B679F96}" dt="2021-11-11T13:37:04.102" v="1321" actId="1076"/>
          <ac:spMkLst>
            <pc:docMk/>
            <pc:sldMk cId="2290166486" sldId="357"/>
            <ac:spMk id="171" creationId="{C375D949-DB15-4C30-B82C-052F5AB2B676}"/>
          </ac:spMkLst>
        </pc:spChg>
        <pc:spChg chg="mod ord">
          <ac:chgData name="Castoriadis Pauline" userId="ccb5c65c-f81e-476d-a380-bc5d932e3d66" providerId="ADAL" clId="{675A59F1-360C-4A95-9C60-84DD7B679F96}" dt="2021-11-11T13:41:13.123" v="1326" actId="14100"/>
          <ac:spMkLst>
            <pc:docMk/>
            <pc:sldMk cId="2290166486" sldId="357"/>
            <ac:spMk id="173" creationId="{419D065A-8B99-4D56-9D06-27D19A520BC2}"/>
          </ac:spMkLst>
        </pc:spChg>
        <pc:spChg chg="add del mod">
          <ac:chgData name="Castoriadis Pauline" userId="ccb5c65c-f81e-476d-a380-bc5d932e3d66" providerId="ADAL" clId="{675A59F1-360C-4A95-9C60-84DD7B679F96}" dt="2021-11-11T13:04:02.388" v="428" actId="478"/>
          <ac:spMkLst>
            <pc:docMk/>
            <pc:sldMk cId="2290166486" sldId="357"/>
            <ac:spMk id="174" creationId="{C5BA8E76-5A8B-4FB9-BA1D-F4EBBF7D8F74}"/>
          </ac:spMkLst>
        </pc:spChg>
        <pc:spChg chg="add mod ord">
          <ac:chgData name="Castoriadis Pauline" userId="ccb5c65c-f81e-476d-a380-bc5d932e3d66" providerId="ADAL" clId="{675A59F1-360C-4A95-9C60-84DD7B679F96}" dt="2021-11-11T13:29:56.567" v="1228"/>
          <ac:spMkLst>
            <pc:docMk/>
            <pc:sldMk cId="2290166486" sldId="357"/>
            <ac:spMk id="175" creationId="{84648DA7-D1E8-45CE-A675-06716762B5E3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0"/>
          <ac:spMkLst>
            <pc:docMk/>
            <pc:sldMk cId="2290166486" sldId="357"/>
            <ac:spMk id="176" creationId="{56B4835D-FFBA-4906-8C4E-70CFFCBE13E8}"/>
          </ac:spMkLst>
        </pc:spChg>
        <pc:spChg chg="add del mod">
          <ac:chgData name="Castoriadis Pauline" userId="ccb5c65c-f81e-476d-a380-bc5d932e3d66" providerId="ADAL" clId="{675A59F1-360C-4A95-9C60-84DD7B679F96}" dt="2021-11-11T13:04:14.028" v="442" actId="478"/>
          <ac:spMkLst>
            <pc:docMk/>
            <pc:sldMk cId="2290166486" sldId="357"/>
            <ac:spMk id="177" creationId="{EA19576E-ECFF-414D-A4F7-96C250F085C4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2"/>
          <ac:spMkLst>
            <pc:docMk/>
            <pc:sldMk cId="2290166486" sldId="357"/>
            <ac:spMk id="178" creationId="{3CBFBA8A-99FF-4916-AA19-1ADF7AEB51BD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4"/>
          <ac:spMkLst>
            <pc:docMk/>
            <pc:sldMk cId="2290166486" sldId="357"/>
            <ac:spMk id="179" creationId="{75DF0431-5C2F-42FE-880D-F5078447A40B}"/>
          </ac:spMkLst>
        </pc:spChg>
        <pc:spChg chg="add del mod">
          <ac:chgData name="Castoriadis Pauline" userId="ccb5c65c-f81e-476d-a380-bc5d932e3d66" providerId="ADAL" clId="{675A59F1-360C-4A95-9C60-84DD7B679F96}" dt="2021-11-12T09:31:16.243" v="3078" actId="478"/>
          <ac:spMkLst>
            <pc:docMk/>
            <pc:sldMk cId="2290166486" sldId="357"/>
            <ac:spMk id="184" creationId="{F7EE2F37-1F78-48D1-A387-EA9B125BCA49}"/>
          </ac:spMkLst>
        </pc:spChg>
        <pc:grpChg chg="mod ord">
          <ac:chgData name="Castoriadis Pauline" userId="ccb5c65c-f81e-476d-a380-bc5d932e3d66" providerId="ADAL" clId="{675A59F1-360C-4A95-9C60-84DD7B679F96}" dt="2021-11-11T13:29:56.537" v="1142"/>
          <ac:grpSpMkLst>
            <pc:docMk/>
            <pc:sldMk cId="2290166486" sldId="357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675A59F1-360C-4A95-9C60-84DD7B679F96}" dt="2021-11-11T13:29:56.568" v="1242"/>
          <ac:graphicFrameMkLst>
            <pc:docMk/>
            <pc:sldMk cId="2290166486" sldId="357"/>
            <ac:graphicFrameMk id="5" creationId="{563ECDA8-3053-4B9E-8D6A-AAF5BC86A822}"/>
          </ac:graphicFrameMkLst>
        </pc:graphicFrame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9" creationId="{144D56C9-9341-4C05-8CFC-BF2BD0522E70}"/>
          </ac:picMkLst>
        </pc:picChg>
        <pc:picChg chg="add del mod">
          <ac:chgData name="Castoriadis Pauline" userId="ccb5c65c-f81e-476d-a380-bc5d932e3d66" providerId="ADAL" clId="{675A59F1-360C-4A95-9C60-84DD7B679F96}" dt="2021-11-11T12:58:18.356" v="7" actId="478"/>
          <ac:picMkLst>
            <pc:docMk/>
            <pc:sldMk cId="2290166486" sldId="357"/>
            <ac:picMk id="11" creationId="{2A7F209F-BC0D-4AC9-8390-CCCE83DE434E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3" creationId="{8D21189A-B1BF-4EED-B503-4D9BB0190C8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" creationId="{A7E65E1D-8C04-44F2-B146-4B20198DC890}"/>
          </ac:picMkLst>
        </pc:picChg>
        <pc:picChg chg="add mod ord modCrop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7" creationId="{DB68FE90-D6AF-416B-A55B-3577520C0927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9" creationId="{1EA48C72-0A83-49EF-8367-D42CA1F15D7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21" creationId="{D318CAF2-D12F-447F-8BB4-470A26F6CADB}"/>
          </ac:picMkLst>
        </pc:picChg>
        <pc:picChg chg="mod ord">
          <ac:chgData name="Castoriadis Pauline" userId="ccb5c65c-f81e-476d-a380-bc5d932e3d66" providerId="ADAL" clId="{675A59F1-360C-4A95-9C60-84DD7B679F96}" dt="2021-11-11T13:29:56.553" v="1170"/>
          <ac:picMkLst>
            <pc:docMk/>
            <pc:sldMk cId="2290166486" sldId="357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675A59F1-360C-4A95-9C60-84DD7B679F96}" dt="2021-11-11T13:29:56.553" v="1174"/>
          <ac:picMkLst>
            <pc:docMk/>
            <pc:sldMk cId="2290166486" sldId="357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675A59F1-360C-4A95-9C60-84DD7B679F96}" dt="2021-11-11T13:29:56.553" v="1178"/>
          <ac:picMkLst>
            <pc:docMk/>
            <pc:sldMk cId="2290166486" sldId="357"/>
            <ac:picMk id="126" creationId="{AEA65E01-73CC-400D-9796-01F10C61DDFB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5" creationId="{6C97739E-B3E8-4AFD-A769-C6A25887A031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6" creationId="{D678FA3F-DF8A-4347-8C9F-39AE46D1D4D2}"/>
          </ac:picMkLst>
        </pc:picChg>
        <pc:picChg chg="del mod">
          <ac:chgData name="Castoriadis Pauline" userId="ccb5c65c-f81e-476d-a380-bc5d932e3d66" providerId="ADAL" clId="{675A59F1-360C-4A95-9C60-84DD7B679F96}" dt="2021-11-11T13:25:29.691" v="754" actId="478"/>
          <ac:picMkLst>
            <pc:docMk/>
            <pc:sldMk cId="2290166486" sldId="357"/>
            <ac:picMk id="159" creationId="{3EAAD57E-C418-4DC8-A88D-8102ABEB82E5}"/>
          </ac:picMkLst>
        </pc:picChg>
        <pc:picChg chg="del mod ord">
          <ac:chgData name="Castoriadis Pauline" userId="ccb5c65c-f81e-476d-a380-bc5d932e3d66" providerId="ADAL" clId="{675A59F1-360C-4A95-9C60-84DD7B679F96}" dt="2021-11-11T13:26:39.464" v="983" actId="478"/>
          <ac:picMkLst>
            <pc:docMk/>
            <pc:sldMk cId="2290166486" sldId="357"/>
            <ac:picMk id="161" creationId="{D3994016-3891-4B26-99C5-0F56ABA629CD}"/>
          </ac:picMkLst>
        </pc:picChg>
        <pc:picChg chg="del mod ord">
          <ac:chgData name="Castoriadis Pauline" userId="ccb5c65c-f81e-476d-a380-bc5d932e3d66" providerId="ADAL" clId="{675A59F1-360C-4A95-9C60-84DD7B679F96}" dt="2021-11-11T13:29:57.341" v="1243" actId="478"/>
          <ac:picMkLst>
            <pc:docMk/>
            <pc:sldMk cId="2290166486" sldId="357"/>
            <ac:picMk id="163" creationId="{045D0A82-1783-4A43-9722-AD82E84B66B1}"/>
          </ac:picMkLst>
        </pc:picChg>
        <pc:picChg chg="del mod ord">
          <ac:chgData name="Castoriadis Pauline" userId="ccb5c65c-f81e-476d-a380-bc5d932e3d66" providerId="ADAL" clId="{675A59F1-360C-4A95-9C60-84DD7B679F96}" dt="2021-11-11T13:29:11.319" v="1104" actId="478"/>
          <ac:picMkLst>
            <pc:docMk/>
            <pc:sldMk cId="2290166486" sldId="357"/>
            <ac:picMk id="164" creationId="{D03872A1-94B1-4F7F-BC4C-C75E22295C8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6"/>
          <ac:picMkLst>
            <pc:docMk/>
            <pc:sldMk cId="2290166486" sldId="357"/>
            <ac:picMk id="180" creationId="{F76EA784-F647-4DBE-B53C-3F85FEF4360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8"/>
          <ac:picMkLst>
            <pc:docMk/>
            <pc:sldMk cId="2290166486" sldId="357"/>
            <ac:picMk id="181" creationId="{C5363023-CBEF-42E9-BE62-E7D8AA8F57C0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2" creationId="{372327E4-C7B2-4CC5-92C7-83FD7113EB7A}"/>
          </ac:picMkLst>
        </pc:picChg>
        <pc:picChg chg="add mo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3" creationId="{D13C5894-BC26-49C5-A6B5-89C0B85069AA}"/>
          </ac:picMkLst>
        </pc:picChg>
        <pc:cxnChg chg="mod ord">
          <ac:chgData name="Castoriadis Pauline" userId="ccb5c65c-f81e-476d-a380-bc5d932e3d66" providerId="ADAL" clId="{675A59F1-360C-4A95-9C60-84DD7B679F96}" dt="2021-11-11T13:31:46.791" v="1301" actId="14100"/>
          <ac:cxnSpMkLst>
            <pc:docMk/>
            <pc:sldMk cId="2290166486" sldId="357"/>
            <ac:cxnSpMk id="3" creationId="{CF49762A-8480-4408-8B47-C18EA556F53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6"/>
          <ac:cxnSpMkLst>
            <pc:docMk/>
            <pc:sldMk cId="2290166486" sldId="357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8"/>
          <ac:cxnSpMkLst>
            <pc:docMk/>
            <pc:sldMk cId="2290166486" sldId="357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4"/>
          <ac:cxnSpMkLst>
            <pc:docMk/>
            <pc:sldMk cId="2290166486" sldId="357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6"/>
          <ac:cxnSpMkLst>
            <pc:docMk/>
            <pc:sldMk cId="2290166486" sldId="357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64"/>
          <ac:cxnSpMkLst>
            <pc:docMk/>
            <pc:sldMk cId="2290166486" sldId="357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675A59F1-360C-4A95-9C60-84DD7B679F96}" dt="2021-11-11T13:29:56.553" v="1168"/>
          <ac:cxnSpMkLst>
            <pc:docMk/>
            <pc:sldMk cId="2290166486" sldId="357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675A59F1-360C-4A95-9C60-84DD7B679F96}" dt="2021-11-11T13:30:25.875" v="1279" actId="1035"/>
          <ac:cxnSpMkLst>
            <pc:docMk/>
            <pc:sldMk cId="2290166486" sldId="357"/>
            <ac:cxnSpMk id="145" creationId="{EB2F3934-93F5-4D9E-953F-CD7E65F49743}"/>
          </ac:cxnSpMkLst>
        </pc:cxnChg>
      </pc:sldChg>
    </pc:docChg>
  </pc:docChgLst>
  <pc:docChgLst>
    <pc:chgData name="Castoriadis Pauline" userId="ccb5c65c-f81e-476d-a380-bc5d932e3d66" providerId="ADAL" clId="{BE8876F5-C2B1-412D-A29E-A708E86085AC}"/>
    <pc:docChg chg="undo custSel addSld modSld">
      <pc:chgData name="Castoriadis Pauline" userId="ccb5c65c-f81e-476d-a380-bc5d932e3d66" providerId="ADAL" clId="{BE8876F5-C2B1-412D-A29E-A708E86085AC}" dt="2021-11-19T10:57:55.156" v="3433" actId="1035"/>
      <pc:docMkLst>
        <pc:docMk/>
      </pc:docMkLst>
      <pc:sldChg chg="addSp modSp">
        <pc:chgData name="Castoriadis Pauline" userId="ccb5c65c-f81e-476d-a380-bc5d932e3d66" providerId="ADAL" clId="{BE8876F5-C2B1-412D-A29E-A708E86085AC}" dt="2021-11-19T08:26:58.821" v="3052"/>
        <pc:sldMkLst>
          <pc:docMk/>
          <pc:sldMk cId="818647476" sldId="312"/>
        </pc:sldMkLst>
        <pc:spChg chg="add mod">
          <ac:chgData name="Castoriadis Pauline" userId="ccb5c65c-f81e-476d-a380-bc5d932e3d66" providerId="ADAL" clId="{BE8876F5-C2B1-412D-A29E-A708E86085AC}" dt="2021-11-19T08:26:58.821" v="3052"/>
          <ac:spMkLst>
            <pc:docMk/>
            <pc:sldMk cId="818647476" sldId="312"/>
            <ac:spMk id="7" creationId="{372FB9A8-BEEB-4392-8E1F-0A31F24FFEAA}"/>
          </ac:spMkLst>
        </pc:spChg>
      </pc:sldChg>
      <pc:sldChg chg="addSp modSp mod">
        <pc:chgData name="Castoriadis Pauline" userId="ccb5c65c-f81e-476d-a380-bc5d932e3d66" providerId="ADAL" clId="{BE8876F5-C2B1-412D-A29E-A708E86085AC}" dt="2021-11-17T07:01:30.779" v="1539" actId="14100"/>
        <pc:sldMkLst>
          <pc:docMk/>
          <pc:sldMk cId="2224986252" sldId="346"/>
        </pc:sldMkLst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2" creationId="{75ADE97F-61D5-4BE6-9D64-1875DDCD260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36" creationId="{A853D551-1BF2-4EAD-ACAB-65FC1267123A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2" creationId="{DA2F8817-F890-4ED7-9640-48A24B8EFC30}"/>
          </ac:spMkLst>
        </pc:spChg>
        <pc:spChg chg="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4" creationId="{341A01BD-1D64-4602-9464-E4E0A8048A9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9" creationId="{45060AC9-2A30-4973-B83B-288B85D4B8C8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0" creationId="{BE9FD24E-475A-4F1A-BEB7-E017FD7129EC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1" creationId="{2070B6E2-159F-41BA-A231-5F740A836B86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2" creationId="{BD7D5C50-3469-44D0-A983-85E26C7351AF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3" creationId="{FB0F4B87-7B4F-4CE5-9EE9-E7CBA63CB14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4" creationId="{A97C77FD-DCDC-4DC6-91D7-25865F7E655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5" creationId="{46AD44AB-E925-43D9-AA65-2EA0E397C415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6" creationId="{E1CCDE99-458C-4247-8D09-2E8907701242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7" creationId="{1A0506D4-9080-4D53-9B8E-19DCF3449AE4}"/>
          </ac:spMkLst>
        </pc:spChg>
        <pc:spChg chg="add mod">
          <ac:chgData name="Castoriadis Pauline" userId="ccb5c65c-f81e-476d-a380-bc5d932e3d66" providerId="ADAL" clId="{BE8876F5-C2B1-412D-A29E-A708E86085AC}" dt="2021-11-17T07:01:04.353" v="1530" actId="1035"/>
          <ac:spMkLst>
            <pc:docMk/>
            <pc:sldMk cId="2224986252" sldId="346"/>
            <ac:spMk id="58" creationId="{04A79D81-6CDC-4CD4-9594-715B0F7D2A7C}"/>
          </ac:spMkLst>
        </pc:spChg>
        <pc:spChg chg="add mod">
          <ac:chgData name="Castoriadis Pauline" userId="ccb5c65c-f81e-476d-a380-bc5d932e3d66" providerId="ADAL" clId="{BE8876F5-C2B1-412D-A29E-A708E86085AC}" dt="2021-11-17T07:01:30.779" v="1539" actId="14100"/>
          <ac:spMkLst>
            <pc:docMk/>
            <pc:sldMk cId="2224986252" sldId="346"/>
            <ac:spMk id="59" creationId="{DDF29226-50A2-4692-B034-3196B47A7B68}"/>
          </ac:spMkLst>
        </pc:sp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23" creationId="{AEF2BE23-E08C-4DBD-BA8F-402E6A7742EA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34" creationId="{BE779D01-090C-4F43-BFA0-56B0DDEAD3DC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43" creationId="{60505461-23F7-4586-BA4F-EB138FD6B1C1}"/>
          </ac:picMkLst>
        </pc:picChg>
      </pc:sldChg>
      <pc:sldChg chg="addSp delSp modSp mod">
        <pc:chgData name="Castoriadis Pauline" userId="ccb5c65c-f81e-476d-a380-bc5d932e3d66" providerId="ADAL" clId="{BE8876F5-C2B1-412D-A29E-A708E86085AC}" dt="2021-11-17T06:49:10.927" v="579" actId="1036"/>
        <pc:sldMkLst>
          <pc:docMk/>
          <pc:sldMk cId="786632353" sldId="353"/>
        </pc:sldMkLst>
        <pc:spChg chg="del mod ord">
          <ac:chgData name="Castoriadis Pauline" userId="ccb5c65c-f81e-476d-a380-bc5d932e3d66" providerId="ADAL" clId="{BE8876F5-C2B1-412D-A29E-A708E86085AC}" dt="2021-11-13T08:47:22.986" v="565" actId="478"/>
          <ac:spMkLst>
            <pc:docMk/>
            <pc:sldMk cId="786632353" sldId="353"/>
            <ac:spMk id="2" creationId="{55CD2EDD-083E-4456-A3A3-7D7AC3844EFE}"/>
          </ac:spMkLst>
        </pc:spChg>
        <pc:spChg chg="mod ord">
          <ac:chgData name="Castoriadis Pauline" userId="ccb5c65c-f81e-476d-a380-bc5d932e3d66" providerId="ADAL" clId="{BE8876F5-C2B1-412D-A29E-A708E86085AC}" dt="2021-11-13T08:43:44.842" v="81"/>
          <ac:spMkLst>
            <pc:docMk/>
            <pc:sldMk cId="786632353" sldId="353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BE8876F5-C2B1-412D-A29E-A708E86085AC}" dt="2021-11-13T08:43:44.844" v="87"/>
          <ac:spMkLst>
            <pc:docMk/>
            <pc:sldMk cId="786632353" sldId="353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BE8876F5-C2B1-412D-A29E-A708E86085AC}" dt="2021-11-13T08:43:44.844" v="89"/>
          <ac:spMkLst>
            <pc:docMk/>
            <pc:sldMk cId="786632353" sldId="353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BE8876F5-C2B1-412D-A29E-A708E86085AC}" dt="2021-11-13T08:47:19.888" v="564" actId="20577"/>
          <ac:spMkLst>
            <pc:docMk/>
            <pc:sldMk cId="786632353" sldId="353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BE8876F5-C2B1-412D-A29E-A708E86085AC}" dt="2021-11-13T08:43:44.845" v="95"/>
          <ac:spMkLst>
            <pc:docMk/>
            <pc:sldMk cId="786632353" sldId="353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BE8876F5-C2B1-412D-A29E-A708E86085AC}" dt="2021-11-13T08:43:44.846" v="97"/>
          <ac:spMkLst>
            <pc:docMk/>
            <pc:sldMk cId="786632353" sldId="353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BE8876F5-C2B1-412D-A29E-A708E86085AC}" dt="2021-11-13T08:43:44.846" v="99"/>
          <ac:spMkLst>
            <pc:docMk/>
            <pc:sldMk cId="786632353" sldId="353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BE8876F5-C2B1-412D-A29E-A708E86085AC}" dt="2021-11-13T08:43:44.847" v="103"/>
          <ac:spMkLst>
            <pc:docMk/>
            <pc:sldMk cId="786632353" sldId="353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2" creationId="{46B23FF4-F2E7-44A1-94AB-86D148E0B7E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3" creationId="{56E90263-9A08-44D6-AF0A-F3B754C78B7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4" creationId="{2B720124-B5B7-450C-B2EF-BD213BED143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5" creationId="{E0B50DD9-C750-426B-89FE-494EF11897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57" creationId="{AE466EBF-5135-44D7-BB3D-C0D7BC0FA29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9" creationId="{C1BE8DE5-9BF3-4E3E-A52C-7E718513D64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1" creationId="{50C8C8C9-70DC-49A5-A6A8-E9DA26D26E0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4" creationId="{6EBF67C2-8592-4DD3-9BB1-9CA8F31933B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5" creationId="{077C037D-B9F8-44AF-8374-162D71A14A1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9" creationId="{A424DC33-13C0-4459-AF09-28F161A261D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2" creationId="{DFB6C537-915C-4EF9-AB95-D6DBB287321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7" creationId="{FEBCB78B-20A7-4972-A552-EAECF5D27A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2" creationId="{3C093739-1C98-4761-9A5D-D145A21DF9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3" creationId="{DB6E8F1E-DA22-49FD-9B11-B2E43AF312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4" creationId="{BFD0523F-018F-4F48-828F-56B680E6B8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06" creationId="{2E5256C0-31B8-4FDB-96A7-FC266D1051B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7" creationId="{557C30AA-05EC-49A9-A899-751C606F8C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8" creationId="{6C2A8EBF-E567-44A1-B089-92AD2EB0A11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9" creationId="{32332758-7DC6-4DF4-97C7-B84EBAB623C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1" creationId="{655DF0F7-B123-4976-9C8C-E15BE0BD138C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2" creationId="{CD606F5A-C8BF-4AAF-869B-9285D099612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3" creationId="{82549066-74A5-4AD0-B2BA-1C3F28CB313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4" creationId="{E3513FA1-2BEC-4736-9499-7159BC0AB52F}"/>
          </ac:spMkLst>
        </pc:spChg>
        <pc:spChg chg="mod ord">
          <ac:chgData name="Castoriadis Pauline" userId="ccb5c65c-f81e-476d-a380-bc5d932e3d66" providerId="ADAL" clId="{BE8876F5-C2B1-412D-A29E-A708E86085AC}" dt="2021-11-13T08:43:44.886" v="267"/>
          <ac:spMkLst>
            <pc:docMk/>
            <pc:sldMk cId="786632353" sldId="353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6" creationId="{8FB2D137-4C03-40B8-B16E-2DBBF033683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7" creationId="{17FE9A3E-92AF-4338-A40A-A2E3D0C76AE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9" creationId="{68B31F44-57F4-4A3F-96CA-8A3A352303A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0" creationId="{CB37C9F8-D3DC-4F11-B566-211198D4855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1" creationId="{B315C959-EE91-491F-B3D2-480D0EB4BC5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2" creationId="{F0612000-6540-4877-A736-1C977768B47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3" creationId="{E9F3E791-2BF4-4562-9AB2-8EF23D26DC4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4" creationId="{6F8EBD92-6361-4E44-99BA-188275BE6CD4}"/>
          </ac:spMkLst>
        </pc:spChg>
        <pc:spChg chg="mod ord">
          <ac:chgData name="Castoriadis Pauline" userId="ccb5c65c-f81e-476d-a380-bc5d932e3d66" providerId="ADAL" clId="{BE8876F5-C2B1-412D-A29E-A708E86085AC}" dt="2021-11-13T08:43:44.887" v="271"/>
          <ac:spMkLst>
            <pc:docMk/>
            <pc:sldMk cId="786632353" sldId="353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7" creationId="{EB7851E9-5FCE-49EE-A8BD-32390C40E52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8" creationId="{8EC58EAD-993C-414F-A049-344BD7FF7C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9" creationId="{593DB2AF-2AE9-485D-A654-4C1C94BBA84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0" creationId="{CC32EEDF-FBC8-407D-AC40-ADC7ED2811C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1" creationId="{E99FC08B-4979-4372-81CA-93B0B075A4F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2" creationId="{3F3B88EC-AE4A-4439-8853-7EDF43D393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3" creationId="{CA1AFAE3-9D4C-4275-9112-57F6DD3F736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4" creationId="{CBDD03CE-1750-4C9A-B6D2-52A8F51A480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5" creationId="{B461EE5F-1A69-4CA3-BE2E-726F2631506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6" creationId="{9C8A76CA-C547-4FDB-A1D5-263474C17EC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7" creationId="{DA180395-8B9D-4D0D-B371-62CD792AD68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8" creationId="{3F244DD7-CC21-4737-9460-F2EA640F3F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9" creationId="{7FFCD3E2-40D5-48FE-9D0F-0A9897B85EA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0" creationId="{197F41BD-BD53-40BE-A4A3-A76CBF4E687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1" creationId="{6916392F-4818-420D-BBAC-88E96FE016D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2" creationId="{E84A9A1A-31B2-4CBE-81D1-F7856C33114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3" creationId="{911E9E1B-DCB3-40E3-B341-998EC0999A6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4" creationId="{672446A2-3E96-49FE-907D-2782926D0322}"/>
          </ac:spMkLst>
        </pc:spChg>
        <pc:spChg chg="add 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5" creationId="{CB371779-BFB6-496D-83F1-EE765BB303D3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6" creationId="{00492DE8-C10D-4950-A1B4-2C84554D30D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7" creationId="{6693AC1B-AA90-46BE-9741-506948FC366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8" creationId="{E26AD863-6FF5-452A-B1A2-DAE00A56C88D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9" creationId="{54EE10CA-7211-4AA4-B9CE-AB7783606AE6}"/>
          </ac:spMkLst>
        </pc:spChg>
        <pc:grpChg chg="mod ord">
          <ac:chgData name="Castoriadis Pauline" userId="ccb5c65c-f81e-476d-a380-bc5d932e3d66" providerId="ADAL" clId="{BE8876F5-C2B1-412D-A29E-A708E86085AC}" dt="2021-11-13T08:43:44.842" v="79"/>
          <ac:grpSpMkLst>
            <pc:docMk/>
            <pc:sldMk cId="786632353" sldId="353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BE8876F5-C2B1-412D-A29E-A708E86085AC}" dt="2021-11-13T08:43:44.894" v="279"/>
          <ac:graphicFrameMkLst>
            <pc:docMk/>
            <pc:sldMk cId="786632353" sldId="353"/>
            <ac:graphicFrameMk id="5" creationId="{563ECDA8-3053-4B9E-8D6A-AAF5BC86A822}"/>
          </ac:graphicFrameMkLst>
        </pc:graphicFrame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" creationId="{1DBC5B36-F680-4642-82B3-77BB4B78D345}"/>
          </ac:picMkLst>
        </pc:picChg>
        <pc:picChg chg="mod ord">
          <ac:chgData name="Castoriadis Pauline" userId="ccb5c65c-f81e-476d-a380-bc5d932e3d66" providerId="ADAL" clId="{BE8876F5-C2B1-412D-A29E-A708E86085AC}" dt="2021-11-13T08:43:44.848" v="107"/>
          <ac:picMkLst>
            <pc:docMk/>
            <pc:sldMk cId="786632353" sldId="353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6" creationId="{3181DFF1-2E70-480C-B673-35F6F7E3BEF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7" creationId="{70CAE759-0CC5-47B8-872C-80DDED97FCF3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4" creationId="{C091FA5F-D048-49AA-B0B9-FAFDD3E5B7B2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5" creationId="{79A9DD2D-2EAB-4FB7-9757-B054CB1ED83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3" creationId="{E3005EC8-0FB6-4184-80FF-5C9C8A20AA9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4" creationId="{A635BAD3-36AF-4D80-8A2B-5B7E051F1DB0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5" creationId="{EF8681A1-7EBE-46AC-8754-4B95A6A6437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6" creationId="{E78EFD8B-EEAC-4660-9EF4-489CDE22A045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7" creationId="{CD3C00F6-4BC7-411C-A1C4-B296EBF473B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8" creationId="{8B3006F9-C105-4620-ACBD-FAEF86BBFB8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9" creationId="{E5D3B132-3DBC-4678-BBE0-31E601C277E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0" creationId="{87B8120F-F9F8-4C4E-95E8-DAFDF5DD78C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1" creationId="{74D09962-CCEA-4844-A9D5-A014ED3A659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2" creationId="{DC191085-52AA-45EB-B052-59EEDEAC8C5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4" creationId="{5B3A641E-C629-4D18-A3AE-2D98D73A8943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5" creationId="{33B19FE3-692B-4E94-A342-A9759F1AB57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6" creationId="{42418E83-B13C-4E53-B0DF-A64E49F64EC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7" creationId="{35A908F7-E3B6-4813-AC64-D554D50C430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8" creationId="{1742E466-E3DA-46A1-9143-A570B8D881C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9" creationId="{9C7C7BA2-A6F0-4353-9D7A-94766C46AAE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0" creationId="{154CE6D5-390E-4E07-B86A-37ABAA8BBBD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1" creationId="{20A32A78-939F-4D9E-A7D5-DE1934846ADB}"/>
          </ac:picMkLst>
        </pc:picChg>
        <pc:picChg chg="mod ord">
          <ac:chgData name="Castoriadis Pauline" userId="ccb5c65c-f81e-476d-a380-bc5d932e3d66" providerId="ADAL" clId="{BE8876F5-C2B1-412D-A29E-A708E86085AC}" dt="2021-11-13T08:43:44.887" v="269"/>
          <ac:picMkLst>
            <pc:docMk/>
            <pc:sldMk cId="786632353" sldId="353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BE8876F5-C2B1-412D-A29E-A708E86085AC}" dt="2021-11-13T08:43:44.888" v="273"/>
          <ac:picMkLst>
            <pc:docMk/>
            <pc:sldMk cId="786632353" sldId="353"/>
            <ac:picMk id="126" creationId="{AEA65E01-73CC-400D-9796-01F10C61DDFB}"/>
          </ac:picMkLst>
        </pc:picChg>
        <pc:cxnChg chg="mod ord">
          <ac:chgData name="Castoriadis Pauline" userId="ccb5c65c-f81e-476d-a380-bc5d932e3d66" providerId="ADAL" clId="{BE8876F5-C2B1-412D-A29E-A708E86085AC}" dt="2021-11-13T08:43:44.843" v="83"/>
          <ac:cxnSpMkLst>
            <pc:docMk/>
            <pc:sldMk cId="786632353" sldId="353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BE8876F5-C2B1-412D-A29E-A708E86085AC}" dt="2021-11-13T08:43:44.843" v="85"/>
          <ac:cxnSpMkLst>
            <pc:docMk/>
            <pc:sldMk cId="786632353" sldId="353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BE8876F5-C2B1-412D-A29E-A708E86085AC}" dt="2021-11-13T08:43:44.844" v="91"/>
          <ac:cxnSpMkLst>
            <pc:docMk/>
            <pc:sldMk cId="786632353" sldId="353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BE8876F5-C2B1-412D-A29E-A708E86085AC}" dt="2021-11-13T08:43:44.845" v="93"/>
          <ac:cxnSpMkLst>
            <pc:docMk/>
            <pc:sldMk cId="786632353" sldId="353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BE8876F5-C2B1-412D-A29E-A708E86085AC}" dt="2021-11-13T08:43:44.846" v="101"/>
          <ac:cxnSpMkLst>
            <pc:docMk/>
            <pc:sldMk cId="786632353" sldId="353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BE8876F5-C2B1-412D-A29E-A708E86085AC}" dt="2021-11-13T08:43:44.847" v="105"/>
          <ac:cxnSpMkLst>
            <pc:docMk/>
            <pc:sldMk cId="786632353" sldId="353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1" creationId="{5642398C-821A-4C8D-857C-D2383F05C9E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8" creationId="{CDC1350E-9155-405A-91C8-A0A403A5252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0" creationId="{22060B8E-0D57-4633-BDDC-4AC6E56CF0D7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2" creationId="{52241295-1757-49BD-BFDB-A51A9DA5E10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3" creationId="{301BF534-5F0B-4EDC-8D8F-2233128ECC9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8" creationId="{DA574E51-1D33-40EB-A0C9-6CB476CB47BE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1" creationId="{0A470368-D43F-40D8-936D-29E3388652E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6" creationId="{BB79BDB3-6E17-467C-B608-DC8A8A4A477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8" creationId="{8B37DD04-47FB-475B-9020-BA001489122C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9" creationId="{057CB548-9097-415A-B6EA-CAD3F63767E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0" creationId="{D1E0A54D-1CA7-4A77-9E71-2FD5052FE2A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1" creationId="{E86284E4-AA82-45B4-9DFF-A94268D9997C}"/>
          </ac:cxnSpMkLst>
        </pc:cxnChg>
        <pc:cxnChg chg="del">
          <ac:chgData name="Castoriadis Pauline" userId="ccb5c65c-f81e-476d-a380-bc5d932e3d66" providerId="ADAL" clId="{BE8876F5-C2B1-412D-A29E-A708E86085AC}" dt="2021-11-13T08:42:05.567" v="1" actId="478"/>
          <ac:cxnSpMkLst>
            <pc:docMk/>
            <pc:sldMk cId="786632353" sldId="353"/>
            <ac:cxnSpMk id="82" creationId="{1B86496D-4E2A-4AA0-B995-3175C4EFA169}"/>
          </ac:cxnSpMkLst>
        </pc:cxnChg>
      </pc:sldChg>
      <pc:sldChg chg="addSp delSp modSp mod">
        <pc:chgData name="Castoriadis Pauline" userId="ccb5c65c-f81e-476d-a380-bc5d932e3d66" providerId="ADAL" clId="{BE8876F5-C2B1-412D-A29E-A708E86085AC}" dt="2021-11-19T08:27:00.848" v="3053" actId="478"/>
        <pc:sldMkLst>
          <pc:docMk/>
          <pc:sldMk cId="1328712484" sldId="356"/>
        </pc:sldMkLst>
        <pc:spChg chg="mod">
          <ac:chgData name="Castoriadis Pauline" userId="ccb5c65c-f81e-476d-a380-bc5d932e3d66" providerId="ADAL" clId="{BE8876F5-C2B1-412D-A29E-A708E86085AC}" dt="2021-11-17T06:59:02.493" v="1470" actId="113"/>
          <ac:spMkLst>
            <pc:docMk/>
            <pc:sldMk cId="1328712484" sldId="356"/>
            <ac:spMk id="19" creationId="{CEA57582-F555-4F22-BE74-52E84792413F}"/>
          </ac:spMkLst>
        </pc:spChg>
        <pc:spChg chg="mod">
          <ac:chgData name="Castoriadis Pauline" userId="ccb5c65c-f81e-476d-a380-bc5d932e3d66" providerId="ADAL" clId="{BE8876F5-C2B1-412D-A29E-A708E86085AC}" dt="2021-11-17T07:10:29.556" v="3040" actId="403"/>
          <ac:spMkLst>
            <pc:docMk/>
            <pc:sldMk cId="1328712484" sldId="356"/>
            <ac:spMk id="20" creationId="{8A1E23FD-ADC3-4649-8E23-2D666016D65A}"/>
          </ac:spMkLst>
        </pc:spChg>
        <pc:spChg chg="del mod">
          <ac:chgData name="Castoriadis Pauline" userId="ccb5c65c-f81e-476d-a380-bc5d932e3d66" providerId="ADAL" clId="{BE8876F5-C2B1-412D-A29E-A708E86085AC}" dt="2021-11-17T06:58:31.139" v="1429" actId="478"/>
          <ac:spMkLst>
            <pc:docMk/>
            <pc:sldMk cId="1328712484" sldId="356"/>
            <ac:spMk id="29" creationId="{4F16B663-B3AE-45FC-A113-C9EEE706D7DC}"/>
          </ac:spMkLst>
        </pc:spChg>
        <pc:spChg chg="add del mod">
          <ac:chgData name="Castoriadis Pauline" userId="ccb5c65c-f81e-476d-a380-bc5d932e3d66" providerId="ADAL" clId="{BE8876F5-C2B1-412D-A29E-A708E86085AC}" dt="2021-11-19T08:27:00.848" v="3053" actId="478"/>
          <ac:spMkLst>
            <pc:docMk/>
            <pc:sldMk cId="1328712484" sldId="356"/>
            <ac:spMk id="30" creationId="{296AAC41-A080-4C4A-85FC-D6AF287518C8}"/>
          </ac:spMkLst>
        </pc:spChg>
      </pc:sldChg>
      <pc:sldChg chg="modSp mod">
        <pc:chgData name="Castoriadis Pauline" userId="ccb5c65c-f81e-476d-a380-bc5d932e3d66" providerId="ADAL" clId="{BE8876F5-C2B1-412D-A29E-A708E86085AC}" dt="2021-11-19T10:52:57.427" v="3348" actId="1036"/>
        <pc:sldMkLst>
          <pc:docMk/>
          <pc:sldMk cId="2290166486" sldId="357"/>
        </pc:sldMkLst>
        <pc:spChg chg="mod">
          <ac:chgData name="Castoriadis Pauline" userId="ccb5c65c-f81e-476d-a380-bc5d932e3d66" providerId="ADAL" clId="{BE8876F5-C2B1-412D-A29E-A708E86085AC}" dt="2021-11-19T10:52:57.427" v="3348" actId="1036"/>
          <ac:spMkLst>
            <pc:docMk/>
            <pc:sldMk cId="2290166486" sldId="357"/>
            <ac:spMk id="7" creationId="{519DBD6B-6811-4A71-A5F5-56637EA5E06E}"/>
          </ac:spMkLst>
        </pc:spChg>
        <pc:spChg chg="mod">
          <ac:chgData name="Castoriadis Pauline" userId="ccb5c65c-f81e-476d-a380-bc5d932e3d66" providerId="ADAL" clId="{BE8876F5-C2B1-412D-A29E-A708E86085AC}" dt="2021-11-13T08:47:32.201" v="571" actId="20577"/>
          <ac:spMkLst>
            <pc:docMk/>
            <pc:sldMk cId="2290166486" sldId="357"/>
            <ac:spMk id="36" creationId="{28FC9C7E-8E23-474F-8B94-B349493C2BDB}"/>
          </ac:spMkLst>
        </pc:spChg>
      </pc:sldChg>
      <pc:sldChg chg="addSp delSp modSp add mod">
        <pc:chgData name="Castoriadis Pauline" userId="ccb5c65c-f81e-476d-a380-bc5d932e3d66" providerId="ADAL" clId="{BE8876F5-C2B1-412D-A29E-A708E86085AC}" dt="2021-11-19T10:57:55.156" v="3433" actId="1035"/>
        <pc:sldMkLst>
          <pc:docMk/>
          <pc:sldMk cId="490308201" sldId="358"/>
        </pc:sldMkLst>
        <pc:spChg chg="del mod">
          <ac:chgData name="Castoriadis Pauline" userId="ccb5c65c-f81e-476d-a380-bc5d932e3d66" providerId="ADAL" clId="{BE8876F5-C2B1-412D-A29E-A708E86085AC}" dt="2021-11-19T10:09:26.579" v="3259" actId="478"/>
          <ac:spMkLst>
            <pc:docMk/>
            <pc:sldMk cId="490308201" sldId="358"/>
            <ac:spMk id="2" creationId="{55CD2EDD-083E-4456-A3A3-7D7AC3844EFE}"/>
          </ac:spMkLst>
        </pc:spChg>
        <pc:spChg chg="add del">
          <ac:chgData name="Castoriadis Pauline" userId="ccb5c65c-f81e-476d-a380-bc5d932e3d66" providerId="ADAL" clId="{BE8876F5-C2B1-412D-A29E-A708E86085AC}" dt="2021-11-19T10:54:17.784" v="3352" actId="478"/>
          <ac:spMkLst>
            <pc:docMk/>
            <pc:sldMk cId="490308201" sldId="358"/>
            <ac:spMk id="12" creationId="{D0816CD8-5B97-4FB1-9F2C-DA56A91FA86A}"/>
          </ac:spMkLst>
        </pc:spChg>
        <pc:spChg chg="mod">
          <ac:chgData name="Castoriadis Pauline" userId="ccb5c65c-f81e-476d-a380-bc5d932e3d66" providerId="ADAL" clId="{BE8876F5-C2B1-412D-A29E-A708E86085AC}" dt="2021-11-19T10:57:40.859" v="3405" actId="20577"/>
          <ac:spMkLst>
            <pc:docMk/>
            <pc:sldMk cId="490308201" sldId="358"/>
            <ac:spMk id="36" creationId="{28FC9C7E-8E23-474F-8B94-B349493C2BDB}"/>
          </ac:spMkLst>
        </pc:spChg>
        <pc:spChg chg="add del mod">
          <ac:chgData name="Castoriadis Pauline" userId="ccb5c65c-f81e-476d-a380-bc5d932e3d66" providerId="ADAL" clId="{BE8876F5-C2B1-412D-A29E-A708E86085AC}" dt="2021-11-19T10:54:34.426" v="3354" actId="478"/>
          <ac:spMkLst>
            <pc:docMk/>
            <pc:sldMk cId="490308201" sldId="358"/>
            <ac:spMk id="51" creationId="{E9332740-CB9A-4FD7-81FE-41BFA7D8B6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2" creationId="{46B23FF4-F2E7-44A1-94AB-86D148E0B7E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3" creationId="{56E90263-9A08-44D6-AF0A-F3B754C78B7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4" creationId="{2B720124-B5B7-450C-B2EF-BD213BED143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5" creationId="{E0B50DD9-C750-426B-89FE-494EF11897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9" creationId="{C1BE8DE5-9BF3-4E3E-A52C-7E718513D64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61" creationId="{50C8C8C9-70DC-49A5-A6A8-E9DA26D26E0E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4" creationId="{6EBF67C2-8592-4DD3-9BB1-9CA8F31933B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5" creationId="{077C037D-B9F8-44AF-8374-162D71A14A14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9" creationId="{A424DC33-13C0-4459-AF09-28F161A261D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72" creationId="{DFB6C537-915C-4EF9-AB95-D6DBB287321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77" creationId="{FEBCB78B-20A7-4972-A552-EAECF5D27A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2" creationId="{3C093739-1C98-4761-9A5D-D145A21DF9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3" creationId="{DB6E8F1E-DA22-49FD-9B11-B2E43AF312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4" creationId="{BFD0523F-018F-4F48-828F-56B680E6B8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7" creationId="{557C30AA-05EC-49A9-A899-751C606F8C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8" creationId="{6C2A8EBF-E567-44A1-B089-92AD2EB0A11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9" creationId="{32332758-7DC6-4DF4-97C7-B84EBAB623C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2" creationId="{CD606F5A-C8BF-4AAF-869B-9285D099612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3" creationId="{82549066-74A5-4AD0-B2BA-1C3F28CB313A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14" creationId="{785113DC-45B8-4053-948E-A4D6DFDCFB0D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15" creationId="{351CA029-0B18-43E0-A1F2-5D5A5D542A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6" creationId="{8FB2D137-4C03-40B8-B16E-2DBBF033683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7" creationId="{17FE9A3E-92AF-4338-A40A-A2E3D0C76AE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9" creationId="{68B31F44-57F4-4A3F-96CA-8A3A352303A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0" creationId="{CB37C9F8-D3DC-4F11-B566-211198D4855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1" creationId="{B315C959-EE91-491F-B3D2-480D0EB4BC5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2" creationId="{F0612000-6540-4877-A736-1C977768B4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3" creationId="{E9F3E791-2BF4-4562-9AB2-8EF23D26DC4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4" creationId="{6F8EBD92-6361-4E44-99BA-188275BE6CD4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25" creationId="{8637CADB-784F-437E-91B0-9D0351A361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7" creationId="{EB7851E9-5FCE-49EE-A8BD-32390C40E52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8" creationId="{8EC58EAD-993C-414F-A049-344BD7FF7C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9" creationId="{593DB2AF-2AE9-485D-A654-4C1C94BBA84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0" creationId="{CC32EEDF-FBC8-407D-AC40-ADC7ED2811C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1" creationId="{E99FC08B-4979-4372-81CA-93B0B075A4F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2" creationId="{3F3B88EC-AE4A-4439-8853-7EDF43D393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3" creationId="{CA1AFAE3-9D4C-4275-9112-57F6DD3F736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4" creationId="{CBDD03CE-1750-4C9A-B6D2-52A8F51A480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5" creationId="{B461EE5F-1A69-4CA3-BE2E-726F2631506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6" creationId="{9C8A76CA-C547-4FDB-A1D5-263474C17ECB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7" creationId="{DA180395-8B9D-4D0D-B371-62CD792AD68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8" creationId="{3F244DD7-CC21-4737-9460-F2EA640F3F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9" creationId="{7FFCD3E2-40D5-48FE-9D0F-0A9897B85EA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0" creationId="{197F41BD-BD53-40BE-A4A3-A76CBF4E687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1" creationId="{6916392F-4818-420D-BBAC-88E96FE016D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2" creationId="{E84A9A1A-31B2-4CBE-81D1-F7856C33114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3" creationId="{911E9E1B-DCB3-40E3-B341-998EC0999A6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4" creationId="{672446A2-3E96-49FE-907D-2782926D032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5" creationId="{CB371779-BFB6-496D-83F1-EE765BB303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6" creationId="{00492DE8-C10D-4950-A1B4-2C84554D30D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7" creationId="{6693AC1B-AA90-46BE-9741-506948FC366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8" creationId="{E26AD863-6FF5-452A-B1A2-DAE00A56C88D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9" creationId="{54EE10CA-7211-4AA4-B9CE-AB7783606AE6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51" creationId="{7152BF8D-2836-4EB7-A5FE-8297F8618C3B}"/>
          </ac:spMkLst>
        </pc:sp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" creationId="{37010657-3B38-4216-9691-1C5E5FA1A72A}"/>
          </ac:picMkLst>
        </pc:picChg>
        <pc:picChg chg="add del">
          <ac:chgData name="Castoriadis Pauline" userId="ccb5c65c-f81e-476d-a380-bc5d932e3d66" providerId="ADAL" clId="{BE8876F5-C2B1-412D-A29E-A708E86085AC}" dt="2021-11-17T11:18:10.303" v="3043" actId="478"/>
          <ac:picMkLst>
            <pc:docMk/>
            <pc:sldMk cId="490308201" sldId="358"/>
            <ac:picMk id="4" creationId="{E4CCEE2F-2911-4D7B-A967-F5805C9E1EB2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6" creationId="{1DBC5B36-F680-4642-82B3-77BB4B78D345}"/>
          </ac:picMkLst>
        </pc:picChg>
        <pc:picChg chg="add del mod">
          <ac:chgData name="Castoriadis Pauline" userId="ccb5c65c-f81e-476d-a380-bc5d932e3d66" providerId="ADAL" clId="{BE8876F5-C2B1-412D-A29E-A708E86085AC}" dt="2021-11-19T10:05:18.445" v="3140" actId="478"/>
          <ac:picMkLst>
            <pc:docMk/>
            <pc:sldMk cId="490308201" sldId="358"/>
            <ac:picMk id="7" creationId="{5D153C29-57A6-4A77-B9D6-0C1108AFEEC1}"/>
          </ac:picMkLst>
        </pc:picChg>
        <pc:picChg chg="add del">
          <ac:chgData name="Castoriadis Pauline" userId="ccb5c65c-f81e-476d-a380-bc5d932e3d66" providerId="ADAL" clId="{BE8876F5-C2B1-412D-A29E-A708E86085AC}" dt="2021-11-17T11:20:52.454" v="3047" actId="478"/>
          <ac:picMkLst>
            <pc:docMk/>
            <pc:sldMk cId="490308201" sldId="358"/>
            <ac:picMk id="7" creationId="{D854F59C-D479-4C76-BE79-D03389BC0D71}"/>
          </ac:picMkLst>
        </pc:picChg>
        <pc:picChg chg="add del">
          <ac:chgData name="Castoriadis Pauline" userId="ccb5c65c-f81e-476d-a380-bc5d932e3d66" providerId="ADAL" clId="{BE8876F5-C2B1-412D-A29E-A708E86085AC}" dt="2021-11-19T10:03:35.967" v="3055" actId="478"/>
          <ac:picMkLst>
            <pc:docMk/>
            <pc:sldMk cId="490308201" sldId="358"/>
            <ac:picMk id="9" creationId="{0EA473C6-219E-4FA0-B7F5-AB31EB7F93BA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10" creationId="{09D717C0-7CFB-4C99-92F8-7E0569AD56B6}"/>
          </ac:picMkLst>
        </pc:picChg>
        <pc:picChg chg="add del">
          <ac:chgData name="Castoriadis Pauline" userId="ccb5c65c-f81e-476d-a380-bc5d932e3d66" providerId="ADAL" clId="{BE8876F5-C2B1-412D-A29E-A708E86085AC}" dt="2021-11-19T10:03:34.865" v="3054" actId="478"/>
          <ac:picMkLst>
            <pc:docMk/>
            <pc:sldMk cId="490308201" sldId="358"/>
            <ac:picMk id="11" creationId="{1A13FC04-29A0-47AA-9354-CB6773EA3C41}"/>
          </ac:picMkLst>
        </pc:picChg>
        <pc:picChg chg="add del mod">
          <ac:chgData name="Castoriadis Pauline" userId="ccb5c65c-f81e-476d-a380-bc5d932e3d66" providerId="ADAL" clId="{BE8876F5-C2B1-412D-A29E-A708E86085AC}" dt="2021-11-19T10:05:21.547" v="3142" actId="21"/>
          <ac:picMkLst>
            <pc:docMk/>
            <pc:sldMk cId="490308201" sldId="358"/>
            <ac:picMk id="35" creationId="{2F2BC010-5F39-4811-BD13-74CFE88BB3BB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37" creationId="{99DE932B-43A6-4502-BDDC-0F6541513D79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7" creationId="{76242061-8A46-4D16-9924-41872C5928B5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8" creationId="{BF5551BE-9F5A-4CA1-9737-AD4A2C423B93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9" creationId="{86412337-4C6F-4B86-8FC6-B34275C3339B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50" creationId="{6829D3B0-0645-4B75-A86A-5992A5F19D0F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6" creationId="{3181DFF1-2E70-480C-B673-35F6F7E3BEFC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7" creationId="{70CAE759-0CC5-47B8-872C-80DDED97FCF3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4" creationId="{C091FA5F-D048-49AA-B0B9-FAFDD3E5B7B2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5" creationId="{79A9DD2D-2EAB-4FB7-9757-B054CB1ED83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3" creationId="{E3005EC8-0FB6-4184-80FF-5C9C8A20AA9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4" creationId="{A635BAD3-36AF-4D80-8A2B-5B7E051F1DB0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5" creationId="{EF8681A1-7EBE-46AC-8754-4B95A6A6437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6" creationId="{E78EFD8B-EEAC-4660-9EF4-489CDE22A045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7" creationId="{CD3C00F6-4BC7-411C-A1C4-B296EBF473B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8" creationId="{8B3006F9-C105-4620-ACBD-FAEF86BBFB8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9" creationId="{E5D3B132-3DBC-4678-BBE0-31E601C277E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0" creationId="{87B8120F-F9F8-4C4E-95E8-DAFDF5DD78C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1" creationId="{74D09962-CCEA-4844-A9D5-A014ED3A659F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2" creationId="{DC191085-52AA-45EB-B052-59EEDEAC8C5C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8" creationId="{1742E466-E3DA-46A1-9143-A570B8D881C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9" creationId="{9C7C7BA2-A6F0-4353-9D7A-94766C46AAE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0" creationId="{154CE6D5-390E-4E07-B86A-37ABAA8BBBD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1" creationId="{20A32A78-939F-4D9E-A7D5-DE1934846ADB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18" creationId="{45381864-2A32-41C5-9CAB-29BF547F3B75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26" creationId="{AEA65E01-73CC-400D-9796-01F10C61DDFB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0" creationId="{AC034949-1DBC-48A5-AEED-838212C9B6BA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2" creationId="{5F8448C7-6845-48F7-8763-B00F6CAB0745}"/>
          </ac:picMkLst>
        </pc:pic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1" creationId="{5642398C-821A-4C8D-857C-D2383F05C9E3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8" creationId="{CDC1350E-9155-405A-91C8-A0A403A5252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0" creationId="{22060B8E-0D57-4633-BDDC-4AC6E56CF0D7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2" creationId="{52241295-1757-49BD-BFDB-A51A9DA5E10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3" creationId="{301BF534-5F0B-4EDC-8D8F-2233128ECC9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8" creationId="{DA574E51-1D33-40EB-A0C9-6CB476CB47BE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1" creationId="{0A470368-D43F-40D8-936D-29E3388652E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6" creationId="{BB79BDB3-6E17-467C-B608-DC8A8A4A477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8" creationId="{8B37DD04-47FB-475B-9020-BA001489122C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9" creationId="{057CB548-9097-415A-B6EA-CAD3F63767E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0" creationId="{D1E0A54D-1CA7-4A77-9E71-2FD5052FE2A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1" creationId="{E86284E4-AA82-45B4-9DFF-A94268D9997C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59641E1-1934-4AFD-859D-D0F31F2349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62D3761-1D88-4747-B883-995E933972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AF1EDC4-8416-4E02-B3A1-11A423863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79913AD-4F19-4F4B-9AA1-905285D1C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1F147EB-ABB9-479E-A403-685FAA94D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7361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43A8F8-7319-40CB-8094-EF73F315D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9D160BA-8F87-436A-9CC9-37F0B403E0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16856AA-3041-4B6C-98C0-766CFC447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FE9CE41-8092-4A86-99BA-92C74277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178262-CC52-4FFF-8051-D14F45203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4964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425AFA66-262B-40A2-B09E-216AB1F283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8C079150-A6C8-46DF-AA1C-41E5894743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A5818B6-4A88-4B86-BBCB-84BF80A2BC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C6D4570-2DA0-4F1C-B14A-C8D95338B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3397366-84E7-4618-AC54-64F8ED5BF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4992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156408-3CBE-4FBC-BE23-9C83399DC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49A01AD-1AA0-4513-B289-A60CCBB0AB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784DD2-E4AD-446C-BA4C-5C5D2D6FB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52609A8-6601-422E-80FA-0CCF1E1B5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3681F4-D681-41DA-B08B-3D7C7868E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9083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3A4BFF-58AA-4606-9BB2-65B9E964A9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38BDB1-9268-451F-897A-9B8073723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4C3DED7-C7C5-426F-BE1F-5B5B4B50A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A50E39-DFFB-4A1E-ADF9-61473488E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D61ED5-3372-48EE-A03B-90BC02938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9405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23FC04-5176-493F-B3CC-235F345FD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3D757E9-34FD-4FCE-BD29-4B08E35D13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B72C118-406C-434F-85AE-D0531766A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2F87A0F-F2BC-4FA9-85F9-C609AB591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80CC997-E716-4ECB-A6B7-FF16C98A7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408C3CF-81B9-48E6-B3FC-2FCFD1C3E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2565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5307B6-7C11-46F2-8B32-BCDCAC617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8AC4032-B322-469C-92F5-78A2FF6ED2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424BD79-644A-496E-BC61-69AB1611B2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A09E0BE-6219-431B-A8FB-CC970A80B7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BDAC41D7-5C2D-4FCF-8D7D-FD1B72E695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9E4E9A5F-C65C-4B03-88D3-8C3A862EA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5A7D4E40-8856-4CF0-9A4D-5CA5A5F4F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52EFBD-68C3-4ED5-A3BF-DB13A8F4D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2769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320B01-FB52-426E-9E80-531D12217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4688CCC-8EBF-4406-9337-FD00AF8CB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83A36D4-6B46-40FA-98EC-B8FC571C5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C2F8E1D-EA7A-45AE-B415-4FDB08EA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732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CE25F96-E212-4A77-AA00-C9BEA798B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01A54E9-8542-457A-A56B-41C4CEDB1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E4DAD5-650D-48E0-A2DC-654EC2F2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817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813987-49C7-483D-88B6-2BC440E2F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0EB7581-58FD-4745-B355-B48477F705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3553E9E-9B24-41AB-8091-662CBF04A6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6A9A5DB-B298-4A62-A371-8F45B033F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60862CE-F2B6-484D-B98E-C3972FA68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82CFBD7-CAA0-483F-8404-1AC084CE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1559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A919BB-BBEE-437F-92D4-F3443EC34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75C8F4F-1E67-46CD-956E-D059701558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BBC2B48-6375-43F1-9A2A-1BB617C3A2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1EE8AAA-545B-4313-951A-D8CF37CA4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32D1971-AAEA-4C2A-A3F3-95C15E96A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35E4F4-0D20-4D29-875A-279666B82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6215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2CDEFB46-AF40-49FB-A472-3D8D2B6A4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917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Diapositive think-cell" r:id="rId15" imgW="415" imgH="416" progId="TCLayout.ActiveDocument.1">
                  <p:embed/>
                </p:oleObj>
              </mc:Choice>
              <mc:Fallback>
                <p:oleObj name="Diapositive think-cell" r:id="rId15" imgW="415" imgH="416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2CDEFB46-AF40-49FB-A472-3D8D2B6A4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3B6337B1-0A4D-4D9B-A106-2E41E008A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308FED0-4CDC-40FA-8D4C-5F94CE2B23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F1BE86-E4B1-439B-9845-E8B4AAC92F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F6B886-BB9C-4CD7-B0F7-2CBA927E8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39916D3-E757-476D-84A4-3D758F070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560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11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5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tags" Target="../tags/tag12.xml"/><Relationship Id="rId16" Type="http://schemas.openxmlformats.org/officeDocument/2006/relationships/image" Target="../media/image38.pn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11" Type="http://schemas.openxmlformats.org/officeDocument/2006/relationships/image" Target="../media/image33.png"/><Relationship Id="rId5" Type="http://schemas.openxmlformats.org/officeDocument/2006/relationships/image" Target="../media/image1.emf"/><Relationship Id="rId15" Type="http://schemas.openxmlformats.org/officeDocument/2006/relationships/image" Target="../media/image37.png"/><Relationship Id="rId10" Type="http://schemas.openxmlformats.org/officeDocument/2006/relationships/image" Target="../media/image32.jpe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openclassrooms.com/fr/paths/164/projects/632/assignment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c/home-credit-default-risk/data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sv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kaggle.com/willkoehrsen/start-here-a-gentle-introduction" TargetMode="External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" Type="http://schemas.openxmlformats.org/officeDocument/2006/relationships/tags" Target="../tags/tag5.xml"/><Relationship Id="rId16" Type="http://schemas.openxmlformats.org/officeDocument/2006/relationships/image" Target="../media/image15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5" Type="http://schemas.openxmlformats.org/officeDocument/2006/relationships/image" Target="../media/image14.png"/><Relationship Id="rId10" Type="http://schemas.openxmlformats.org/officeDocument/2006/relationships/image" Target="../media/image9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Stratégies de data science dans le secteur retail : applications">
            <a:extLst>
              <a:ext uri="{FF2B5EF4-FFF2-40B4-BE49-F238E27FC236}">
                <a16:creationId xmlns:a16="http://schemas.microsoft.com/office/drawing/2014/main" id="{6E4744DE-1A7E-41CD-883C-61A7BD2A6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rgbClr val="9966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es parcours diplômants et des cours gratuits 100% en ligne - OpenClassrooms">
            <a:extLst>
              <a:ext uri="{FF2B5EF4-FFF2-40B4-BE49-F238E27FC236}">
                <a16:creationId xmlns:a16="http://schemas.microsoft.com/office/drawing/2014/main" id="{E098F993-48EC-4212-A173-807F4664B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1474" y="6346190"/>
            <a:ext cx="2746566" cy="328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36821D-E33B-469B-BD23-F01985B3E1B6}"/>
              </a:ext>
            </a:extLst>
          </p:cNvPr>
          <p:cNvSpPr/>
          <p:nvPr/>
        </p:nvSpPr>
        <p:spPr>
          <a:xfrm>
            <a:off x="2174240" y="2667000"/>
            <a:ext cx="7843520" cy="15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arcours Data Scientist</a:t>
            </a:r>
          </a:p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2021-2022</a:t>
            </a:r>
          </a:p>
        </p:txBody>
      </p:sp>
    </p:spTree>
    <p:extLst>
      <p:ext uri="{BB962C8B-B14F-4D97-AF65-F5344CB8AC3E}">
        <p14:creationId xmlns:p14="http://schemas.microsoft.com/office/powerpoint/2010/main" val="4154654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0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2. Modélisation</a:t>
            </a:r>
          </a:p>
          <a:p>
            <a:r>
              <a:rPr lang="fr-FR" sz="4000" dirty="0"/>
              <a:t>	Métrique de performance</a:t>
            </a:r>
          </a:p>
          <a:p>
            <a:r>
              <a:rPr lang="fr-FR" sz="4000" dirty="0"/>
              <a:t>	Méthodologie</a:t>
            </a:r>
          </a:p>
          <a:p>
            <a:r>
              <a:rPr lang="fr-FR" sz="4000" dirty="0"/>
              <a:t>	Modèle retenu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521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362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1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Quel est la mesure la plus adaptée à notre problème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8AFB4E7-F5CC-4CF9-9B92-4E8E76520864}"/>
              </a:ext>
            </a:extLst>
          </p:cNvPr>
          <p:cNvSpPr/>
          <p:nvPr/>
        </p:nvSpPr>
        <p:spPr>
          <a:xfrm>
            <a:off x="1122506" y="1737313"/>
            <a:ext cx="6633788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prédite par le modè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9AE9532-D31D-4805-9849-7255CE897E4B}"/>
              </a:ext>
            </a:extLst>
          </p:cNvPr>
          <p:cNvSpPr/>
          <p:nvPr/>
        </p:nvSpPr>
        <p:spPr>
          <a:xfrm>
            <a:off x="191502" y="2653705"/>
            <a:ext cx="432000" cy="3416559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réel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018E8F6-F82A-471A-87EA-486D5E5A5CA6}"/>
              </a:ext>
            </a:extLst>
          </p:cNvPr>
          <p:cNvSpPr/>
          <p:nvPr/>
        </p:nvSpPr>
        <p:spPr>
          <a:xfrm>
            <a:off x="1122506" y="2653706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positifs (TP)</a:t>
            </a:r>
            <a:endParaRPr lang="fr-FR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97CB667-4F87-4587-817C-208210043F5B}"/>
              </a:ext>
            </a:extLst>
          </p:cNvPr>
          <p:cNvSpPr/>
          <p:nvPr/>
        </p:nvSpPr>
        <p:spPr>
          <a:xfrm>
            <a:off x="4524038" y="2653706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négatifs (FN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4699CD4-710A-4196-A805-7C29A936F25C}"/>
              </a:ext>
            </a:extLst>
          </p:cNvPr>
          <p:cNvSpPr/>
          <p:nvPr/>
        </p:nvSpPr>
        <p:spPr>
          <a:xfrm>
            <a:off x="1137789" y="4426411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positifs (FP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1B4148E-89C4-4E29-992F-37D47305B504}"/>
              </a:ext>
            </a:extLst>
          </p:cNvPr>
          <p:cNvSpPr/>
          <p:nvPr/>
        </p:nvSpPr>
        <p:spPr>
          <a:xfrm>
            <a:off x="4524038" y="4426411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négatifs (TN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2BE85FA-B225-4CD3-A46C-4B9294D7FF27}"/>
              </a:ext>
            </a:extLst>
          </p:cNvPr>
          <p:cNvSpPr/>
          <p:nvPr/>
        </p:nvSpPr>
        <p:spPr>
          <a:xfrm>
            <a:off x="1122506" y="2248245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593959-FEC2-4296-8FF4-9BB9B640155C}"/>
              </a:ext>
            </a:extLst>
          </p:cNvPr>
          <p:cNvSpPr/>
          <p:nvPr/>
        </p:nvSpPr>
        <p:spPr>
          <a:xfrm>
            <a:off x="4524038" y="2251304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BEE0481-8708-4995-9152-71F8874A83E9}"/>
              </a:ext>
            </a:extLst>
          </p:cNvPr>
          <p:cNvSpPr/>
          <p:nvPr/>
        </p:nvSpPr>
        <p:spPr>
          <a:xfrm>
            <a:off x="694576" y="2653706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9B60743-2640-4DD7-BF5D-2CFF789970BA}"/>
              </a:ext>
            </a:extLst>
          </p:cNvPr>
          <p:cNvSpPr/>
          <p:nvPr/>
        </p:nvSpPr>
        <p:spPr>
          <a:xfrm>
            <a:off x="694576" y="4426411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5C79F80-49D5-4FAC-83A4-D7F7767AD00F}"/>
              </a:ext>
            </a:extLst>
          </p:cNvPr>
          <p:cNvSpPr/>
          <p:nvPr/>
        </p:nvSpPr>
        <p:spPr>
          <a:xfrm>
            <a:off x="4531030" y="3255762"/>
            <a:ext cx="3225264" cy="432000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AAFEBDA-7FDA-4E99-8EC1-324C57A95783}"/>
              </a:ext>
            </a:extLst>
          </p:cNvPr>
          <p:cNvSpPr/>
          <p:nvPr/>
        </p:nvSpPr>
        <p:spPr>
          <a:xfrm>
            <a:off x="1137789" y="5040184"/>
            <a:ext cx="3195844" cy="432000"/>
          </a:xfrm>
          <a:prstGeom prst="rect">
            <a:avLst/>
          </a:prstGeom>
          <a:noFill/>
          <a:ln w="28575">
            <a:solidFill>
              <a:srgbClr val="FF656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3516E55-FB46-463B-9A1C-94DF6E5C92E1}"/>
              </a:ext>
            </a:extLst>
          </p:cNvPr>
          <p:cNvSpPr/>
          <p:nvPr/>
        </p:nvSpPr>
        <p:spPr>
          <a:xfrm>
            <a:off x="4393271" y="3171558"/>
            <a:ext cx="324000" cy="324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CEA2B60C-605C-4C83-82A0-D6C35B8110D0}"/>
              </a:ext>
            </a:extLst>
          </p:cNvPr>
          <p:cNvSpPr/>
          <p:nvPr/>
        </p:nvSpPr>
        <p:spPr>
          <a:xfrm>
            <a:off x="975789" y="4945968"/>
            <a:ext cx="324000" cy="324000"/>
          </a:xfrm>
          <a:prstGeom prst="ellipse">
            <a:avLst/>
          </a:prstGeom>
          <a:solidFill>
            <a:srgbClr val="FF6565"/>
          </a:solidFill>
          <a:ln>
            <a:solidFill>
              <a:srgbClr val="FF6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F3CA187-87F1-48D9-91C7-92B558C435AA}"/>
              </a:ext>
            </a:extLst>
          </p:cNvPr>
          <p:cNvSpPr/>
          <p:nvPr/>
        </p:nvSpPr>
        <p:spPr>
          <a:xfrm>
            <a:off x="4518743" y="367725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C00000"/>
                </a:solidFill>
              </a:rPr>
              <a:t>On cherche avant tout à </a:t>
            </a:r>
            <a:r>
              <a:rPr lang="fr-FR" sz="1600" b="1" i="1" dirty="0">
                <a:solidFill>
                  <a:srgbClr val="C00000"/>
                </a:solidFill>
              </a:rPr>
              <a:t>détecter le nombre de faux négatif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62EE066-4116-4136-96CF-F8833EFC8F38}"/>
              </a:ext>
            </a:extLst>
          </p:cNvPr>
          <p:cNvSpPr/>
          <p:nvPr/>
        </p:nvSpPr>
        <p:spPr>
          <a:xfrm>
            <a:off x="1123146" y="545890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FF6565"/>
                </a:solidFill>
              </a:rPr>
              <a:t>Dans une moindre mesure, on veut </a:t>
            </a:r>
            <a:r>
              <a:rPr lang="fr-FR" sz="1600" b="1" i="1" dirty="0">
                <a:solidFill>
                  <a:srgbClr val="FF6565"/>
                </a:solidFill>
              </a:rPr>
              <a:t>limiter le nombre de faux positifs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D7C713A-B7BF-424A-9979-DAE5864B4C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7798" y="2539999"/>
            <a:ext cx="2857500" cy="4095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339E967B-3316-4B49-8CB1-9712DD5130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5272" y="4160823"/>
            <a:ext cx="2876550" cy="409575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39F0F878-EBB3-4B70-9923-E4CFCEB157A6}"/>
              </a:ext>
            </a:extLst>
          </p:cNvPr>
          <p:cNvSpPr/>
          <p:nvPr/>
        </p:nvSpPr>
        <p:spPr>
          <a:xfrm>
            <a:off x="8086049" y="1737313"/>
            <a:ext cx="3446487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Les métriques possibles</a:t>
            </a:r>
            <a:endParaRPr lang="fr-FR" b="1" i="1" dirty="0">
              <a:solidFill>
                <a:schemeClr val="bg1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96FCABC6-5D2C-4AB7-9152-5557A20CD8CA}"/>
              </a:ext>
            </a:extLst>
          </p:cNvPr>
          <p:cNvCxnSpPr/>
          <p:nvPr/>
        </p:nvCxnSpPr>
        <p:spPr>
          <a:xfrm>
            <a:off x="7887710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>
            <a:extLst>
              <a:ext uri="{FF2B5EF4-FFF2-40B4-BE49-F238E27FC236}">
                <a16:creationId xmlns:a16="http://schemas.microsoft.com/office/drawing/2014/main" id="{94340771-B06C-4ED2-BBCF-60C66A951FF3}"/>
              </a:ext>
            </a:extLst>
          </p:cNvPr>
          <p:cNvCxnSpPr/>
          <p:nvPr/>
        </p:nvCxnSpPr>
        <p:spPr>
          <a:xfrm>
            <a:off x="7937027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32142773-F471-419D-9EAB-D57BB1884CBA}"/>
              </a:ext>
            </a:extLst>
          </p:cNvPr>
          <p:cNvSpPr/>
          <p:nvPr/>
        </p:nvSpPr>
        <p:spPr>
          <a:xfrm>
            <a:off x="8086049" y="226278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Sensitivity/recal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E95AF6D-3B85-4C41-AA1A-9B7D6B1C1B68}"/>
              </a:ext>
            </a:extLst>
          </p:cNvPr>
          <p:cNvSpPr/>
          <p:nvPr/>
        </p:nvSpPr>
        <p:spPr>
          <a:xfrm>
            <a:off x="8087182" y="387639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Specificity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3DBC589-B20E-482D-AD12-DF16E51E23E6}"/>
              </a:ext>
            </a:extLst>
          </p:cNvPr>
          <p:cNvSpPr/>
          <p:nvPr/>
        </p:nvSpPr>
        <p:spPr>
          <a:xfrm>
            <a:off x="8116665" y="3065114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Precisio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D46CDFB-CEF2-400C-8926-CB3F1CB42F5C}"/>
              </a:ext>
            </a:extLst>
          </p:cNvPr>
          <p:cNvSpPr/>
          <p:nvPr/>
        </p:nvSpPr>
        <p:spPr>
          <a:xfrm>
            <a:off x="8117798" y="4642137"/>
            <a:ext cx="2772000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Negative predictive value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1197350-B8FF-493A-9E2E-5673ACBE3B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30324" y="3341289"/>
            <a:ext cx="2295525" cy="40957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948FC1F6-5C7F-4B08-84AF-629EDF0997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30324" y="4920011"/>
            <a:ext cx="2333625" cy="40957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8786B184-53FE-45BC-830A-E81A83AEACC7}"/>
              </a:ext>
            </a:extLst>
          </p:cNvPr>
          <p:cNvSpPr/>
          <p:nvPr/>
        </p:nvSpPr>
        <p:spPr>
          <a:xfrm>
            <a:off x="8092829" y="5451647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Accuracy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04F3DCD7-E5F1-4B68-9BC9-6122BA4CE9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94350" y="5734336"/>
            <a:ext cx="3352800" cy="409575"/>
          </a:xfrm>
          <a:prstGeom prst="rect">
            <a:avLst/>
          </a:prstGeom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9A85C37-C799-46DB-A4A7-C8BEEEF4D9B4}"/>
              </a:ext>
            </a:extLst>
          </p:cNvPr>
          <p:cNvSpPr/>
          <p:nvPr/>
        </p:nvSpPr>
        <p:spPr>
          <a:xfrm>
            <a:off x="8077070" y="3847790"/>
            <a:ext cx="3751675" cy="84089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4577655-B237-498C-A280-A2AFA24F7DDC}"/>
              </a:ext>
            </a:extLst>
          </p:cNvPr>
          <p:cNvSpPr/>
          <p:nvPr/>
        </p:nvSpPr>
        <p:spPr>
          <a:xfrm>
            <a:off x="8069468" y="4688688"/>
            <a:ext cx="3738589" cy="150465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DE24CB-A056-4F7E-84DF-493675B7B4D2}"/>
              </a:ext>
            </a:extLst>
          </p:cNvPr>
          <p:cNvSpPr/>
          <p:nvPr/>
        </p:nvSpPr>
        <p:spPr>
          <a:xfrm>
            <a:off x="8069468" y="2197847"/>
            <a:ext cx="3738589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8F8635F-6135-4131-AD3C-79CDFBF001C9}"/>
              </a:ext>
            </a:extLst>
          </p:cNvPr>
          <p:cNvSpPr/>
          <p:nvPr/>
        </p:nvSpPr>
        <p:spPr>
          <a:xfrm>
            <a:off x="11071435" y="2382617"/>
            <a:ext cx="1044000" cy="1296000"/>
          </a:xfrm>
          <a:prstGeom prst="rect">
            <a:avLst/>
          </a:prstGeom>
          <a:solidFill>
            <a:srgbClr val="C00000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Equilibre à trouver entre ces 2 métriques</a:t>
            </a:r>
            <a:endParaRPr lang="fr-FR" sz="16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323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0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éthodologie de modéli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 : coins arrondis 65">
            <a:extLst>
              <a:ext uri="{FF2B5EF4-FFF2-40B4-BE49-F238E27FC236}">
                <a16:creationId xmlns:a16="http://schemas.microsoft.com/office/drawing/2014/main" id="{53B95B14-FE81-4C93-A983-7567F9FC4647}"/>
              </a:ext>
            </a:extLst>
          </p:cNvPr>
          <p:cNvSpPr/>
          <p:nvPr/>
        </p:nvSpPr>
        <p:spPr>
          <a:xfrm>
            <a:off x="817391" y="1692436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Entrainement sur training réduit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avec cross validation et optimisation des hyperparamètres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F5551D15-880B-4177-BEAA-040FB07176A7}"/>
              </a:ext>
            </a:extLst>
          </p:cNvPr>
          <p:cNvSpPr/>
          <p:nvPr/>
        </p:nvSpPr>
        <p:spPr>
          <a:xfrm>
            <a:off x="3601732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Entrainement sur training avec cross validation </a:t>
            </a:r>
            <a:r>
              <a:rPr lang="fr-FR" dirty="0">
                <a:solidFill>
                  <a:srgbClr val="2A0068"/>
                </a:solidFill>
              </a:rPr>
              <a:t>et </a:t>
            </a:r>
            <a:r>
              <a:rPr lang="fr-FR" b="1" dirty="0">
                <a:solidFill>
                  <a:srgbClr val="2A0068"/>
                </a:solidFill>
              </a:rPr>
              <a:t>optimisation des hyperparamètres</a:t>
            </a:r>
          </a:p>
        </p:txBody>
      </p:sp>
      <p:sp>
        <p:nvSpPr>
          <p:cNvPr id="80" name="Rectangle : coins arrondis 79">
            <a:extLst>
              <a:ext uri="{FF2B5EF4-FFF2-40B4-BE49-F238E27FC236}">
                <a16:creationId xmlns:a16="http://schemas.microsoft.com/office/drawing/2014/main" id="{9342A335-A5CA-4212-AA6E-1461C200C5D2}"/>
              </a:ext>
            </a:extLst>
          </p:cNvPr>
          <p:cNvSpPr/>
          <p:nvPr/>
        </p:nvSpPr>
        <p:spPr>
          <a:xfrm>
            <a:off x="6386073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Choix du </a:t>
            </a:r>
            <a:r>
              <a:rPr lang="fr-FR" b="1" dirty="0">
                <a:solidFill>
                  <a:srgbClr val="2A0068"/>
                </a:solidFill>
              </a:rPr>
              <a:t>meilleur modèle meilleur F Beta obtenu en cross validation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0E61303A-EA8B-4DD7-8D59-C8C143253271}"/>
              </a:ext>
            </a:extLst>
          </p:cNvPr>
          <p:cNvSpPr/>
          <p:nvPr/>
        </p:nvSpPr>
        <p:spPr>
          <a:xfrm>
            <a:off x="9170414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Entrainement du modèle choisi sur jeu training et jeu de test</a:t>
            </a:r>
          </a:p>
        </p:txBody>
      </p:sp>
      <p:sp>
        <p:nvSpPr>
          <p:cNvPr id="104" name="Rectangle : coins arrondis 103">
            <a:extLst>
              <a:ext uri="{FF2B5EF4-FFF2-40B4-BE49-F238E27FC236}">
                <a16:creationId xmlns:a16="http://schemas.microsoft.com/office/drawing/2014/main" id="{EAB334AA-3778-425D-9743-1DC908CCD7C3}"/>
              </a:ext>
            </a:extLst>
          </p:cNvPr>
          <p:cNvSpPr/>
          <p:nvPr/>
        </p:nvSpPr>
        <p:spPr>
          <a:xfrm>
            <a:off x="817391" y="3234332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Sélectionner l’approche pour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solutionner la problématique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du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déséquilibre entre les classes</a:t>
            </a:r>
          </a:p>
        </p:txBody>
      </p:sp>
      <p:sp>
        <p:nvSpPr>
          <p:cNvPr id="105" name="Rectangle : coins arrondis 104">
            <a:extLst>
              <a:ext uri="{FF2B5EF4-FFF2-40B4-BE49-F238E27FC236}">
                <a16:creationId xmlns:a16="http://schemas.microsoft.com/office/drawing/2014/main" id="{FBD90510-1D9C-4637-8FB1-FB6BA6F02203}"/>
              </a:ext>
            </a:extLst>
          </p:cNvPr>
          <p:cNvSpPr/>
          <p:nvPr/>
        </p:nvSpPr>
        <p:spPr>
          <a:xfrm>
            <a:off x="3601732" y="3217198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ptimisation hyperparamètres pour chaque modèle</a:t>
            </a:r>
          </a:p>
        </p:txBody>
      </p:sp>
      <p:sp>
        <p:nvSpPr>
          <p:cNvPr id="106" name="Rectangle : coins arrondis 105">
            <a:extLst>
              <a:ext uri="{FF2B5EF4-FFF2-40B4-BE49-F238E27FC236}">
                <a16:creationId xmlns:a16="http://schemas.microsoft.com/office/drawing/2014/main" id="{660E812D-3940-4C34-89C9-B91A435FF2C5}"/>
              </a:ext>
            </a:extLst>
          </p:cNvPr>
          <p:cNvSpPr/>
          <p:nvPr/>
        </p:nvSpPr>
        <p:spPr>
          <a:xfrm>
            <a:off x="6386073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Améliorer au maximum les performances du modèle de ML</a:t>
            </a:r>
          </a:p>
        </p:txBody>
      </p:sp>
      <p:sp>
        <p:nvSpPr>
          <p:cNvPr id="107" name="Rectangle : coins arrondis 106">
            <a:extLst>
              <a:ext uri="{FF2B5EF4-FFF2-40B4-BE49-F238E27FC236}">
                <a16:creationId xmlns:a16="http://schemas.microsoft.com/office/drawing/2014/main" id="{C8FBB3E1-6FC7-4078-A62D-208F4560CE8D}"/>
              </a:ext>
            </a:extLst>
          </p:cNvPr>
          <p:cNvSpPr/>
          <p:nvPr/>
        </p:nvSpPr>
        <p:spPr>
          <a:xfrm>
            <a:off x="9170414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Bilan des performances de notre meilleur modèle pour notre problème de classification</a:t>
            </a:r>
          </a:p>
        </p:txBody>
      </p:sp>
      <p:sp>
        <p:nvSpPr>
          <p:cNvPr id="108" name="Rectangle : coins arrondis 107">
            <a:extLst>
              <a:ext uri="{FF2B5EF4-FFF2-40B4-BE49-F238E27FC236}">
                <a16:creationId xmlns:a16="http://schemas.microsoft.com/office/drawing/2014/main" id="{91FFB5F0-9642-4731-8C9B-E78DC8245269}"/>
              </a:ext>
            </a:extLst>
          </p:cNvPr>
          <p:cNvSpPr/>
          <p:nvPr/>
        </p:nvSpPr>
        <p:spPr>
          <a:xfrm>
            <a:off x="817391" y="4833677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Pondération des observations </a:t>
            </a: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dans le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Choix d’une </a:t>
            </a: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métrique de perf. adaptée</a:t>
            </a:r>
          </a:p>
        </p:txBody>
      </p:sp>
      <p:sp>
        <p:nvSpPr>
          <p:cNvPr id="109" name="Rectangle : coins arrondis 108">
            <a:extLst>
              <a:ext uri="{FF2B5EF4-FFF2-40B4-BE49-F238E27FC236}">
                <a16:creationId xmlns:a16="http://schemas.microsoft.com/office/drawing/2014/main" id="{7728649F-C4C7-4991-86E0-03849BF16218}"/>
              </a:ext>
            </a:extLst>
          </p:cNvPr>
          <p:cNvSpPr/>
          <p:nvPr/>
        </p:nvSpPr>
        <p:spPr>
          <a:xfrm>
            <a:off x="3601732" y="481654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Choix des meilleurs hyperparamèt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Choix de la métrique, </a:t>
            </a:r>
            <a:r>
              <a:rPr lang="fr-FR" b="1" i="1" dirty="0">
                <a:solidFill>
                  <a:srgbClr val="2A0068"/>
                </a:solidFill>
              </a:rPr>
              <a:t>F Beta </a:t>
            </a:r>
            <a:r>
              <a:rPr lang="fr-FR" i="1" dirty="0">
                <a:solidFill>
                  <a:srgbClr val="2A0068"/>
                </a:solidFill>
              </a:rPr>
              <a:t>(compromis recall/precision)</a:t>
            </a:r>
          </a:p>
        </p:txBody>
      </p:sp>
      <p:sp>
        <p:nvSpPr>
          <p:cNvPr id="110" name="Rectangle : coins arrondis 109">
            <a:extLst>
              <a:ext uri="{FF2B5EF4-FFF2-40B4-BE49-F238E27FC236}">
                <a16:creationId xmlns:a16="http://schemas.microsoft.com/office/drawing/2014/main" id="{46BCE464-F417-469E-8A2F-CAD4F0BEE71F}"/>
              </a:ext>
            </a:extLst>
          </p:cNvPr>
          <p:cNvSpPr/>
          <p:nvPr/>
        </p:nvSpPr>
        <p:spPr>
          <a:xfrm>
            <a:off x="6386073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Parmi les modèles testés (LR, SVM, RF), </a:t>
            </a:r>
            <a:r>
              <a:rPr lang="fr-FR" b="1" i="1" dirty="0">
                <a:solidFill>
                  <a:srgbClr val="2A0068"/>
                </a:solidFill>
              </a:rPr>
              <a:t>sélection du meilleur modèle</a:t>
            </a:r>
          </a:p>
        </p:txBody>
      </p:sp>
      <p:sp>
        <p:nvSpPr>
          <p:cNvPr id="111" name="Rectangle : coins arrondis 110">
            <a:extLst>
              <a:ext uri="{FF2B5EF4-FFF2-40B4-BE49-F238E27FC236}">
                <a16:creationId xmlns:a16="http://schemas.microsoft.com/office/drawing/2014/main" id="{552D3DEF-0BC2-4AA4-AD3D-C01E433D3E38}"/>
              </a:ext>
            </a:extLst>
          </p:cNvPr>
          <p:cNvSpPr/>
          <p:nvPr/>
        </p:nvSpPr>
        <p:spPr>
          <a:xfrm>
            <a:off x="9170414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Bilan des </a:t>
            </a:r>
            <a:r>
              <a:rPr lang="fr-FR" b="1" i="1" dirty="0">
                <a:solidFill>
                  <a:srgbClr val="2A0068"/>
                </a:solidFill>
              </a:rPr>
              <a:t>perf. de notre meilleur modè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Insertion dans le dashboard (pickle)</a:t>
            </a:r>
          </a:p>
        </p:txBody>
      </p:sp>
      <p:sp>
        <p:nvSpPr>
          <p:cNvPr id="112" name="Rectangle : coins arrondis 111">
            <a:extLst>
              <a:ext uri="{FF2B5EF4-FFF2-40B4-BE49-F238E27FC236}">
                <a16:creationId xmlns:a16="http://schemas.microsoft.com/office/drawing/2014/main" id="{2344C3F0-BE94-4B5B-99CA-2C3FC4A38E1B}"/>
              </a:ext>
            </a:extLst>
          </p:cNvPr>
          <p:cNvSpPr/>
          <p:nvPr/>
        </p:nvSpPr>
        <p:spPr>
          <a:xfrm>
            <a:off x="365583" y="1675304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Input</a:t>
            </a:r>
          </a:p>
        </p:txBody>
      </p:sp>
      <p:sp>
        <p:nvSpPr>
          <p:cNvPr id="113" name="Rectangle : coins arrondis 112">
            <a:extLst>
              <a:ext uri="{FF2B5EF4-FFF2-40B4-BE49-F238E27FC236}">
                <a16:creationId xmlns:a16="http://schemas.microsoft.com/office/drawing/2014/main" id="{F032ED45-5AF1-45D0-841A-4F5A4B3C86E0}"/>
              </a:ext>
            </a:extLst>
          </p:cNvPr>
          <p:cNvSpPr/>
          <p:nvPr/>
        </p:nvSpPr>
        <p:spPr>
          <a:xfrm>
            <a:off x="365583" y="3217200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bjectif</a:t>
            </a:r>
          </a:p>
        </p:txBody>
      </p:sp>
      <p:sp>
        <p:nvSpPr>
          <p:cNvPr id="114" name="Rectangle : coins arrondis 113">
            <a:extLst>
              <a:ext uri="{FF2B5EF4-FFF2-40B4-BE49-F238E27FC236}">
                <a16:creationId xmlns:a16="http://schemas.microsoft.com/office/drawing/2014/main" id="{4FDD0B6F-BA61-4894-9387-581A16A78F7B}"/>
              </a:ext>
            </a:extLst>
          </p:cNvPr>
          <p:cNvSpPr/>
          <p:nvPr/>
        </p:nvSpPr>
        <p:spPr>
          <a:xfrm>
            <a:off x="365583" y="4816545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utput</a:t>
            </a:r>
          </a:p>
        </p:txBody>
      </p:sp>
      <p:cxnSp>
        <p:nvCxnSpPr>
          <p:cNvPr id="116" name="Connecteur droit 115">
            <a:extLst>
              <a:ext uri="{FF2B5EF4-FFF2-40B4-BE49-F238E27FC236}">
                <a16:creationId xmlns:a16="http://schemas.microsoft.com/office/drawing/2014/main" id="{AD795F57-05F6-4589-AEDE-6ED7229DA874}"/>
              </a:ext>
            </a:extLst>
          </p:cNvPr>
          <p:cNvCxnSpPr>
            <a:cxnSpLocks/>
          </p:cNvCxnSpPr>
          <p:nvPr/>
        </p:nvCxnSpPr>
        <p:spPr>
          <a:xfrm flipH="1">
            <a:off x="365583" y="4772873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droit 116">
            <a:extLst>
              <a:ext uri="{FF2B5EF4-FFF2-40B4-BE49-F238E27FC236}">
                <a16:creationId xmlns:a16="http://schemas.microsoft.com/office/drawing/2014/main" id="{FCD4CB33-CFB4-4D9E-A130-F6180CD9D289}"/>
              </a:ext>
            </a:extLst>
          </p:cNvPr>
          <p:cNvCxnSpPr>
            <a:cxnSpLocks/>
          </p:cNvCxnSpPr>
          <p:nvPr/>
        </p:nvCxnSpPr>
        <p:spPr>
          <a:xfrm flipH="1">
            <a:off x="354000" y="4721112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5567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ulta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C8E639C-FDFB-4A1C-8AE0-2124E2462D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028" y="1723165"/>
            <a:ext cx="3959265" cy="612000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0A936B0A-F461-4437-833C-E9EFC6B17B0C}"/>
              </a:ext>
            </a:extLst>
          </p:cNvPr>
          <p:cNvCxnSpPr/>
          <p:nvPr/>
        </p:nvCxnSpPr>
        <p:spPr>
          <a:xfrm>
            <a:off x="4851458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463E2CB8-414C-46B5-84AB-F67AB1858E75}"/>
              </a:ext>
            </a:extLst>
          </p:cNvPr>
          <p:cNvCxnSpPr/>
          <p:nvPr/>
        </p:nvCxnSpPr>
        <p:spPr>
          <a:xfrm>
            <a:off x="4900775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72240B4A-9A6A-4057-BBC0-DD5B43361817}"/>
              </a:ext>
            </a:extLst>
          </p:cNvPr>
          <p:cNvSpPr/>
          <p:nvPr/>
        </p:nvSpPr>
        <p:spPr>
          <a:xfrm>
            <a:off x="430458" y="2478841"/>
            <a:ext cx="4266273" cy="373195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à </a:t>
            </a:r>
            <a:r>
              <a:rPr lang="fr-FR" b="1" dirty="0">
                <a:solidFill>
                  <a:srgbClr val="2A0068"/>
                </a:solidFill>
              </a:rPr>
              <a:t>prédire le taux de faux négatifs </a:t>
            </a:r>
            <a:r>
              <a:rPr lang="fr-FR" dirty="0">
                <a:solidFill>
                  <a:srgbClr val="2A0068"/>
                </a:solidFill>
              </a:rPr>
              <a:t>en tout premier lieu et </a:t>
            </a:r>
            <a:r>
              <a:rPr lang="fr-FR" b="1" dirty="0">
                <a:solidFill>
                  <a:srgbClr val="2A0068"/>
                </a:solidFill>
              </a:rPr>
              <a:t>les faux positifs </a:t>
            </a:r>
            <a:r>
              <a:rPr lang="fr-FR" dirty="0">
                <a:solidFill>
                  <a:srgbClr val="2A0068"/>
                </a:solidFill>
              </a:rPr>
              <a:t>en second lieu 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donc un </a:t>
            </a:r>
            <a:r>
              <a:rPr lang="fr-FR" b="1" dirty="0">
                <a:solidFill>
                  <a:srgbClr val="2A0068"/>
                </a:solidFill>
              </a:rPr>
              <a:t>compromis entre recall et précision</a:t>
            </a:r>
            <a:r>
              <a:rPr lang="fr-FR" dirty="0">
                <a:solidFill>
                  <a:srgbClr val="2A0068"/>
                </a:solidFill>
              </a:rPr>
              <a:t>, qui </a:t>
            </a:r>
            <a:r>
              <a:rPr lang="fr-FR" b="1" dirty="0">
                <a:solidFill>
                  <a:srgbClr val="2A0068"/>
                </a:solidFill>
              </a:rPr>
              <a:t>peut se formaliser dans le score F-bêta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Il s’agit de la </a:t>
            </a:r>
            <a:r>
              <a:rPr lang="fr-FR" b="1" dirty="0">
                <a:solidFill>
                  <a:srgbClr val="2A0068"/>
                </a:solidFill>
              </a:rPr>
              <a:t>moyenne harmonique pondérée de la précision et du rappel</a:t>
            </a:r>
            <a:r>
              <a:rPr lang="fr-FR" dirty="0">
                <a:solidFill>
                  <a:srgbClr val="2A0068"/>
                </a:solidFill>
              </a:rPr>
              <a:t>, atteignant sa valeur optimale à 1 et sa pire valeur à 0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Le </a:t>
            </a:r>
            <a:r>
              <a:rPr lang="fr-FR" b="1" dirty="0">
                <a:solidFill>
                  <a:srgbClr val="2A0068"/>
                </a:solidFill>
              </a:rPr>
              <a:t>paramètre beta détermine le poids du rappel dans le score combiné ; p</a:t>
            </a:r>
            <a:r>
              <a:rPr lang="fr-FR" b="1" i="0" dirty="0">
                <a:solidFill>
                  <a:srgbClr val="2A0068"/>
                </a:solidFill>
                <a:effectLst/>
              </a:rPr>
              <a:t>our β≥1, on accorde plus d’importance au recall </a:t>
            </a:r>
            <a:r>
              <a:rPr lang="fr-FR" i="0" dirty="0">
                <a:solidFill>
                  <a:srgbClr val="2A0068"/>
                </a:solidFill>
                <a:effectLst/>
              </a:rPr>
              <a:t>(autrement dit aux faux négatifs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FCC492-DB2A-4B00-A3A9-F731192BDA3F}"/>
              </a:ext>
            </a:extLst>
          </p:cNvPr>
          <p:cNvSpPr/>
          <p:nvPr/>
        </p:nvSpPr>
        <p:spPr>
          <a:xfrm>
            <a:off x="5139658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Régression logistiqu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A6B74C1-5E6F-4303-9DDD-949C0F0042C7}"/>
              </a:ext>
            </a:extLst>
          </p:cNvPr>
          <p:cNvSpPr/>
          <p:nvPr/>
        </p:nvSpPr>
        <p:spPr>
          <a:xfrm>
            <a:off x="7341326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SV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0D59BD6-1EFF-4965-B241-CB8739C29D05}"/>
              </a:ext>
            </a:extLst>
          </p:cNvPr>
          <p:cNvSpPr/>
          <p:nvPr/>
        </p:nvSpPr>
        <p:spPr>
          <a:xfrm>
            <a:off x="9527763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Forêt Aléatoire</a:t>
            </a:r>
          </a:p>
        </p:txBody>
      </p:sp>
      <p:pic>
        <p:nvPicPr>
          <p:cNvPr id="8" name="Graphique 7" descr="Couronne avec un remplissage uni">
            <a:extLst>
              <a:ext uri="{FF2B5EF4-FFF2-40B4-BE49-F238E27FC236}">
                <a16:creationId xmlns:a16="http://schemas.microsoft.com/office/drawing/2014/main" id="{E26B4516-BA5E-4AA3-98D2-5B708A9517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061813" y="2021641"/>
            <a:ext cx="914400" cy="91440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182E59C-5CD5-41A2-83EF-D8ACB7C7A715}"/>
              </a:ext>
            </a:extLst>
          </p:cNvPr>
          <p:cNvSpPr/>
          <p:nvPr/>
        </p:nvSpPr>
        <p:spPr>
          <a:xfrm>
            <a:off x="5129498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F8D2B75-6C6A-4F58-8259-67D561D582C2}"/>
              </a:ext>
            </a:extLst>
          </p:cNvPr>
          <p:cNvSpPr/>
          <p:nvPr/>
        </p:nvSpPr>
        <p:spPr>
          <a:xfrm>
            <a:off x="7341326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28955822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3. Dashboard réalisé</a:t>
            </a:r>
          </a:p>
          <a:p>
            <a:r>
              <a:rPr lang="fr-FR" sz="4000" dirty="0"/>
              <a:t>	Outils utilisés</a:t>
            </a:r>
          </a:p>
          <a:p>
            <a:r>
              <a:rPr lang="fr-FR" sz="4000" dirty="0"/>
              <a:t>	Démo du dashboard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4998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2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u dashboard réalisé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i="1" dirty="0">
                <a:solidFill>
                  <a:schemeClr val="tx1"/>
                </a:solidFill>
              </a:rPr>
              <a:t>Vidéo sur le dashboard à insérer ici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 5">
            <a:extLst>
              <a:ext uri="{FF2B5EF4-FFF2-40B4-BE49-F238E27FC236}">
                <a16:creationId xmlns:a16="http://schemas.microsoft.com/office/drawing/2014/main" id="{EDBFD8E8-9BD9-4A8B-84C7-A6C0A9FFBE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436838" y="1153998"/>
            <a:ext cx="7884000" cy="3648999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78417278-670D-43C6-BCCB-25A3733F9B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5359" y="2860148"/>
            <a:ext cx="7884000" cy="378202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C3B6D415-4EA5-415F-9831-96D92E93FFF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47308" y="1755295"/>
            <a:ext cx="7884000" cy="3778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3674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8836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Architecture réalisée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844" name="Picture 4" descr="Agence Expert Python pour FinTech">
            <a:extLst>
              <a:ext uri="{FF2B5EF4-FFF2-40B4-BE49-F238E27FC236}">
                <a16:creationId xmlns:a16="http://schemas.microsoft.com/office/drawing/2014/main" id="{23B4D162-3AAD-41D9-B965-21CD65A27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1921" y="4178355"/>
            <a:ext cx="964283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3559369B-801C-44F6-ACD4-D74F38F8C2E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178" t="23716" r="15778" b="17421"/>
          <a:stretch/>
        </p:blipFill>
        <p:spPr>
          <a:xfrm>
            <a:off x="7583561" y="4327273"/>
            <a:ext cx="1546127" cy="720000"/>
          </a:xfrm>
          <a:prstGeom prst="rect">
            <a:avLst/>
          </a:prstGeom>
        </p:spPr>
      </p:pic>
      <p:pic>
        <p:nvPicPr>
          <p:cNvPr id="37890" name="Picture 2" descr="Heroku Apache Kafka expliqué">
            <a:extLst>
              <a:ext uri="{FF2B5EF4-FFF2-40B4-BE49-F238E27FC236}">
                <a16:creationId xmlns:a16="http://schemas.microsoft.com/office/drawing/2014/main" id="{01997F9B-214C-4484-A761-45B5A5D784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9" t="20102" r="5756" b="18784"/>
          <a:stretch/>
        </p:blipFill>
        <p:spPr bwMode="auto">
          <a:xfrm>
            <a:off x="3667880" y="1820525"/>
            <a:ext cx="2057706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E077105-4172-4363-AD97-983CE2204C0A}"/>
              </a:ext>
            </a:extLst>
          </p:cNvPr>
          <p:cNvSpPr/>
          <p:nvPr/>
        </p:nvSpPr>
        <p:spPr>
          <a:xfrm>
            <a:off x="2713902" y="2510151"/>
            <a:ext cx="3827989" cy="3028781"/>
          </a:xfrm>
          <a:prstGeom prst="rect">
            <a:avLst/>
          </a:prstGeom>
          <a:noFill/>
          <a:ln w="38100">
            <a:solidFill>
              <a:srgbClr val="4300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>
              <a:solidFill>
                <a:srgbClr val="2A0068"/>
              </a:solidFill>
            </a:endParaRPr>
          </a:p>
        </p:txBody>
      </p:sp>
      <p:pic>
        <p:nvPicPr>
          <p:cNvPr id="37894" name="Picture 6" descr="15' POUR COMPRENDRE : Git et GitHub">
            <a:extLst>
              <a:ext uri="{FF2B5EF4-FFF2-40B4-BE49-F238E27FC236}">
                <a16:creationId xmlns:a16="http://schemas.microsoft.com/office/drawing/2014/main" id="{AA0ED2A2-B935-455C-BC1F-1E3C5CD881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17" t="29094" r="10082" b="28463"/>
          <a:stretch/>
        </p:blipFill>
        <p:spPr bwMode="auto">
          <a:xfrm>
            <a:off x="7202158" y="2016289"/>
            <a:ext cx="230706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293833CD-769F-4EED-9255-94262FD7DA52}"/>
              </a:ext>
            </a:extLst>
          </p:cNvPr>
          <p:cNvSpPr/>
          <p:nvPr/>
        </p:nvSpPr>
        <p:spPr>
          <a:xfrm>
            <a:off x="2787874" y="3227610"/>
            <a:ext cx="1992888" cy="746681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Modèle ML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pic>
        <p:nvPicPr>
          <p:cNvPr id="37896" name="Picture 8" descr="Jupyter — Wikipédia">
            <a:extLst>
              <a:ext uri="{FF2B5EF4-FFF2-40B4-BE49-F238E27FC236}">
                <a16:creationId xmlns:a16="http://schemas.microsoft.com/office/drawing/2014/main" id="{7871F3C4-18B9-414F-8317-3811E973FB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281" y="3606800"/>
            <a:ext cx="807515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33D0210-2317-4BBD-AD59-087978B8AD5B}"/>
              </a:ext>
            </a:extLst>
          </p:cNvPr>
          <p:cNvSpPr/>
          <p:nvPr/>
        </p:nvSpPr>
        <p:spPr>
          <a:xfrm>
            <a:off x="2787873" y="4044090"/>
            <a:ext cx="1992887" cy="1240986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Data clien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51E5D42-92D2-418D-BBB6-ECB1145D1B50}"/>
              </a:ext>
            </a:extLst>
          </p:cNvPr>
          <p:cNvSpPr/>
          <p:nvPr/>
        </p:nvSpPr>
        <p:spPr>
          <a:xfrm>
            <a:off x="5205381" y="3600949"/>
            <a:ext cx="1211116" cy="1623023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App avec api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76962C6-34BC-4A17-B727-20BC7C3BE4F1}"/>
              </a:ext>
            </a:extLst>
          </p:cNvPr>
          <p:cNvSpPr/>
          <p:nvPr/>
        </p:nvSpPr>
        <p:spPr>
          <a:xfrm>
            <a:off x="353596" y="3155712"/>
            <a:ext cx="1669217" cy="2193184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Notebooks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3738B37-5118-44E0-B806-04624B6CD692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5898" y="4615475"/>
            <a:ext cx="1620000" cy="60261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A46BB3A-B508-4C01-98EF-2226F34243A9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542" y="3452976"/>
            <a:ext cx="1532094" cy="5400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8D58D66-3749-45C7-83B9-B428E4D15930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66089"/>
          <a:stretch/>
        </p:blipFill>
        <p:spPr>
          <a:xfrm>
            <a:off x="3195314" y="4471273"/>
            <a:ext cx="1238549" cy="4320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74B93F5-C4A7-4BE5-ACDE-09BE9CA0D50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426418" y="4733695"/>
            <a:ext cx="695325" cy="38100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B354C13-879E-447F-88B9-5B3D689ED371}"/>
              </a:ext>
            </a:extLst>
          </p:cNvPr>
          <p:cNvSpPr/>
          <p:nvPr/>
        </p:nvSpPr>
        <p:spPr>
          <a:xfrm>
            <a:off x="7345122" y="3714800"/>
            <a:ext cx="2022829" cy="1824260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2183F81-098E-4B90-B85D-02090F8DDD63}"/>
              </a:ext>
            </a:extLst>
          </p:cNvPr>
          <p:cNvSpPr/>
          <p:nvPr/>
        </p:nvSpPr>
        <p:spPr>
          <a:xfrm>
            <a:off x="10346382" y="3714672"/>
            <a:ext cx="1416459" cy="1824260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Navigateur/</a:t>
            </a:r>
          </a:p>
          <a:p>
            <a:pPr algn="ctr"/>
            <a:r>
              <a:rPr lang="fr-FR" b="1" dirty="0">
                <a:solidFill>
                  <a:srgbClr val="2A0068"/>
                </a:solidFill>
              </a:rPr>
              <a:t>page web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E37741B0-F790-4E26-B1DB-DCA4BF2067CD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3A90DB"/>
              </a:clrFrom>
              <a:clrTo>
                <a:srgbClr val="3A90DB">
                  <a:alpha val="0"/>
                </a:srgbClr>
              </a:clrTo>
            </a:clrChange>
          </a:blip>
          <a:srcRect t="18169" b="27796"/>
          <a:stretch/>
        </p:blipFill>
        <p:spPr>
          <a:xfrm>
            <a:off x="7599883" y="5152512"/>
            <a:ext cx="1348398" cy="252000"/>
          </a:xfrm>
          <a:prstGeom prst="rect">
            <a:avLst/>
          </a:prstGeom>
        </p:spPr>
      </p:pic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01791530-BAC6-4A3C-B933-EE09D8ABD998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2000794" y="3600951"/>
            <a:ext cx="78708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D241CA47-1187-4041-99EC-D6444F84DD7C}"/>
              </a:ext>
            </a:extLst>
          </p:cNvPr>
          <p:cNvCxnSpPr>
            <a:cxnSpLocks/>
            <a:endCxn id="35" idx="1"/>
          </p:cNvCxnSpPr>
          <p:nvPr/>
        </p:nvCxnSpPr>
        <p:spPr>
          <a:xfrm>
            <a:off x="2018200" y="4664583"/>
            <a:ext cx="769673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avec flèche 46">
            <a:extLst>
              <a:ext uri="{FF2B5EF4-FFF2-40B4-BE49-F238E27FC236}">
                <a16:creationId xmlns:a16="http://schemas.microsoft.com/office/drawing/2014/main" id="{2790DC1F-F06B-477A-807B-D12EB9F9BCD3}"/>
              </a:ext>
            </a:extLst>
          </p:cNvPr>
          <p:cNvCxnSpPr>
            <a:cxnSpLocks/>
            <a:stCxn id="35" idx="3"/>
          </p:cNvCxnSpPr>
          <p:nvPr/>
        </p:nvCxnSpPr>
        <p:spPr>
          <a:xfrm>
            <a:off x="4780760" y="4664583"/>
            <a:ext cx="43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452E5F60-0783-4EB2-94D2-9799E2DB3C31}"/>
              </a:ext>
            </a:extLst>
          </p:cNvPr>
          <p:cNvCxnSpPr>
            <a:cxnSpLocks/>
          </p:cNvCxnSpPr>
          <p:nvPr/>
        </p:nvCxnSpPr>
        <p:spPr>
          <a:xfrm flipH="1">
            <a:off x="4946553" y="3600950"/>
            <a:ext cx="4485" cy="107882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C6B76ABA-31AC-494C-B95D-986073614291}"/>
              </a:ext>
            </a:extLst>
          </p:cNvPr>
          <p:cNvCxnSpPr>
            <a:cxnSpLocks/>
          </p:cNvCxnSpPr>
          <p:nvPr/>
        </p:nvCxnSpPr>
        <p:spPr>
          <a:xfrm>
            <a:off x="4780760" y="3616239"/>
            <a:ext cx="180000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avec flèche 54">
            <a:extLst>
              <a:ext uri="{FF2B5EF4-FFF2-40B4-BE49-F238E27FC236}">
                <a16:creationId xmlns:a16="http://schemas.microsoft.com/office/drawing/2014/main" id="{25D90B80-8660-4AB0-87C3-E99BAA9DC9EB}"/>
              </a:ext>
            </a:extLst>
          </p:cNvPr>
          <p:cNvCxnSpPr>
            <a:cxnSpLocks/>
          </p:cNvCxnSpPr>
          <p:nvPr/>
        </p:nvCxnSpPr>
        <p:spPr>
          <a:xfrm>
            <a:off x="6549581" y="4816983"/>
            <a:ext cx="79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>
            <a:extLst>
              <a:ext uri="{FF2B5EF4-FFF2-40B4-BE49-F238E27FC236}">
                <a16:creationId xmlns:a16="http://schemas.microsoft.com/office/drawing/2014/main" id="{AC62B3FB-DA89-4B86-91EC-505FF576D7BA}"/>
              </a:ext>
            </a:extLst>
          </p:cNvPr>
          <p:cNvCxnSpPr>
            <a:cxnSpLocks/>
          </p:cNvCxnSpPr>
          <p:nvPr/>
        </p:nvCxnSpPr>
        <p:spPr>
          <a:xfrm>
            <a:off x="9375834" y="4816983"/>
            <a:ext cx="97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>
            <a:extLst>
              <a:ext uri="{FF2B5EF4-FFF2-40B4-BE49-F238E27FC236}">
                <a16:creationId xmlns:a16="http://schemas.microsoft.com/office/drawing/2014/main" id="{0A2D754E-6E83-4C49-AC72-0D5DC415B25D}"/>
              </a:ext>
            </a:extLst>
          </p:cNvPr>
          <p:cNvCxnSpPr>
            <a:cxnSpLocks/>
          </p:cNvCxnSpPr>
          <p:nvPr/>
        </p:nvCxnSpPr>
        <p:spPr>
          <a:xfrm flipH="1">
            <a:off x="9370282" y="4463303"/>
            <a:ext cx="97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eur droit avec flèche 58">
            <a:extLst>
              <a:ext uri="{FF2B5EF4-FFF2-40B4-BE49-F238E27FC236}">
                <a16:creationId xmlns:a16="http://schemas.microsoft.com/office/drawing/2014/main" id="{149393A8-74A3-4E2F-9D88-46BD5CB1881D}"/>
              </a:ext>
            </a:extLst>
          </p:cNvPr>
          <p:cNvCxnSpPr>
            <a:cxnSpLocks/>
          </p:cNvCxnSpPr>
          <p:nvPr/>
        </p:nvCxnSpPr>
        <p:spPr>
          <a:xfrm flipH="1">
            <a:off x="6539421" y="4450445"/>
            <a:ext cx="79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Bulle narrative : rectangle à coins arrondis 24">
            <a:extLst>
              <a:ext uri="{FF2B5EF4-FFF2-40B4-BE49-F238E27FC236}">
                <a16:creationId xmlns:a16="http://schemas.microsoft.com/office/drawing/2014/main" id="{8D90A515-725F-4373-9270-91A78EA3E7AA}"/>
              </a:ext>
            </a:extLst>
          </p:cNvPr>
          <p:cNvSpPr/>
          <p:nvPr/>
        </p:nvSpPr>
        <p:spPr>
          <a:xfrm>
            <a:off x="1994269" y="4831584"/>
            <a:ext cx="1147315" cy="461048"/>
          </a:xfrm>
          <a:prstGeom prst="wedgeRoundRectCallout">
            <a:avLst>
              <a:gd name="adj1" fmla="val 11676"/>
              <a:gd name="adj2" fmla="val -75821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Excel </a:t>
            </a:r>
            <a:r>
              <a:rPr lang="fr-FR" sz="900" dirty="0">
                <a:solidFill>
                  <a:srgbClr val="C00000"/>
                </a:solidFill>
              </a:rPr>
              <a:t>avec les </a:t>
            </a:r>
            <a:r>
              <a:rPr lang="fr-FR" sz="900" b="1" dirty="0">
                <a:solidFill>
                  <a:srgbClr val="C00000"/>
                </a:solidFill>
              </a:rPr>
              <a:t>variables prédictrices </a:t>
            </a:r>
            <a:r>
              <a:rPr lang="fr-FR" sz="900" dirty="0">
                <a:solidFill>
                  <a:srgbClr val="C00000"/>
                </a:solidFill>
              </a:rPr>
              <a:t>utiles à notre modèl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7AA3F93-FA3B-4FA4-9F0F-1273F50B7294}"/>
              </a:ext>
            </a:extLst>
          </p:cNvPr>
          <p:cNvSpPr/>
          <p:nvPr/>
        </p:nvSpPr>
        <p:spPr>
          <a:xfrm>
            <a:off x="351265" y="2785553"/>
            <a:ext cx="9388636" cy="2935838"/>
          </a:xfrm>
          <a:prstGeom prst="rect">
            <a:avLst/>
          </a:prstGeom>
          <a:noFill/>
          <a:ln w="381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3" name="Bulle narrative : rectangle à coins arrondis 62">
            <a:extLst>
              <a:ext uri="{FF2B5EF4-FFF2-40B4-BE49-F238E27FC236}">
                <a16:creationId xmlns:a16="http://schemas.microsoft.com/office/drawing/2014/main" id="{E1058163-7DD7-485A-A2D0-25E631D446FD}"/>
              </a:ext>
            </a:extLst>
          </p:cNvPr>
          <p:cNvSpPr/>
          <p:nvPr/>
        </p:nvSpPr>
        <p:spPr>
          <a:xfrm>
            <a:off x="1881639" y="2908175"/>
            <a:ext cx="1219370" cy="540000"/>
          </a:xfrm>
          <a:prstGeom prst="wedgeRoundRectCallout">
            <a:avLst>
              <a:gd name="adj1" fmla="val 19735"/>
              <a:gd name="adj2" fmla="val 67180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Modèle de ML (Random Forest) </a:t>
            </a:r>
            <a:r>
              <a:rPr lang="fr-FR" sz="900" dirty="0">
                <a:solidFill>
                  <a:srgbClr val="C00000"/>
                </a:solidFill>
              </a:rPr>
              <a:t>entrainé sur le training set (échantillon)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2B2A46B-A6EB-4D64-87A1-D23057F7221C}"/>
              </a:ext>
            </a:extLst>
          </p:cNvPr>
          <p:cNvSpPr/>
          <p:nvPr/>
        </p:nvSpPr>
        <p:spPr>
          <a:xfrm>
            <a:off x="6986426" y="1990376"/>
            <a:ext cx="2753475" cy="797281"/>
          </a:xfrm>
          <a:prstGeom prst="rect">
            <a:avLst/>
          </a:prstGeom>
          <a:noFill/>
          <a:ln w="381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AD45D22-8121-487C-A31A-37BE54B1687C}"/>
              </a:ext>
            </a:extLst>
          </p:cNvPr>
          <p:cNvSpPr/>
          <p:nvPr/>
        </p:nvSpPr>
        <p:spPr>
          <a:xfrm>
            <a:off x="7004820" y="2686518"/>
            <a:ext cx="2719264" cy="244474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AA82C99-B3D3-46AC-B9E6-CDB1131AB760}"/>
              </a:ext>
            </a:extLst>
          </p:cNvPr>
          <p:cNvSpPr/>
          <p:nvPr/>
        </p:nvSpPr>
        <p:spPr>
          <a:xfrm>
            <a:off x="3272419" y="1750174"/>
            <a:ext cx="2753475" cy="761028"/>
          </a:xfrm>
          <a:prstGeom prst="rect">
            <a:avLst/>
          </a:prstGeom>
          <a:noFill/>
          <a:ln w="38100">
            <a:solidFill>
              <a:srgbClr val="4300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>
              <a:solidFill>
                <a:srgbClr val="2A0068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78180D6-D480-40DB-AD9A-CB56FAF96EBF}"/>
              </a:ext>
            </a:extLst>
          </p:cNvPr>
          <p:cNvSpPr/>
          <p:nvPr/>
        </p:nvSpPr>
        <p:spPr>
          <a:xfrm>
            <a:off x="3296725" y="2396559"/>
            <a:ext cx="2709696" cy="244474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8" name="Bulle narrative : rectangle à coins arrondis 67">
            <a:extLst>
              <a:ext uri="{FF2B5EF4-FFF2-40B4-BE49-F238E27FC236}">
                <a16:creationId xmlns:a16="http://schemas.microsoft.com/office/drawing/2014/main" id="{46E74D73-501E-46D8-9B4E-ECCD6F5F16FE}"/>
              </a:ext>
            </a:extLst>
          </p:cNvPr>
          <p:cNvSpPr/>
          <p:nvPr/>
        </p:nvSpPr>
        <p:spPr>
          <a:xfrm>
            <a:off x="6493730" y="5006350"/>
            <a:ext cx="1065319" cy="413262"/>
          </a:xfrm>
          <a:prstGeom prst="wedgeRoundRectCallout">
            <a:avLst>
              <a:gd name="adj1" fmla="val 21719"/>
              <a:gd name="adj2" fmla="val -80286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Dictionnaire JSON </a:t>
            </a:r>
            <a:r>
              <a:rPr lang="fr-FR" sz="900" dirty="0">
                <a:solidFill>
                  <a:srgbClr val="C00000"/>
                </a:solidFill>
              </a:rPr>
              <a:t>avec l'ID client et la prédiction associée</a:t>
            </a:r>
          </a:p>
        </p:txBody>
      </p:sp>
      <p:sp>
        <p:nvSpPr>
          <p:cNvPr id="72" name="Bulle narrative : rectangle à coins arrondis 71">
            <a:extLst>
              <a:ext uri="{FF2B5EF4-FFF2-40B4-BE49-F238E27FC236}">
                <a16:creationId xmlns:a16="http://schemas.microsoft.com/office/drawing/2014/main" id="{134E2823-B905-4B4B-9ADD-809C1858100E}"/>
              </a:ext>
            </a:extLst>
          </p:cNvPr>
          <p:cNvSpPr/>
          <p:nvPr/>
        </p:nvSpPr>
        <p:spPr>
          <a:xfrm>
            <a:off x="9449581" y="4145456"/>
            <a:ext cx="611490" cy="213696"/>
          </a:xfrm>
          <a:prstGeom prst="wedgeRoundRectCallout">
            <a:avLst>
              <a:gd name="adj1" fmla="val -39669"/>
              <a:gd name="adj2" fmla="val 75108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Lien https</a:t>
            </a:r>
            <a:endParaRPr lang="fr-FR" sz="900" dirty="0">
              <a:solidFill>
                <a:srgbClr val="C00000"/>
              </a:solidFill>
            </a:endParaRPr>
          </a:p>
        </p:txBody>
      </p:sp>
      <p:sp>
        <p:nvSpPr>
          <p:cNvPr id="76" name="Bulle narrative : rectangle à coins arrondis 75">
            <a:extLst>
              <a:ext uri="{FF2B5EF4-FFF2-40B4-BE49-F238E27FC236}">
                <a16:creationId xmlns:a16="http://schemas.microsoft.com/office/drawing/2014/main" id="{4AE10C5F-CE90-4452-A681-56DC53B1232A}"/>
              </a:ext>
            </a:extLst>
          </p:cNvPr>
          <p:cNvSpPr/>
          <p:nvPr/>
        </p:nvSpPr>
        <p:spPr>
          <a:xfrm>
            <a:off x="9694746" y="4945305"/>
            <a:ext cx="611490" cy="213696"/>
          </a:xfrm>
          <a:prstGeom prst="wedgeRoundRectCallout">
            <a:avLst>
              <a:gd name="adj1" fmla="val 42834"/>
              <a:gd name="adj2" fmla="val -79820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  <a:highlight>
                  <a:srgbClr val="FFFF00"/>
                </a:highlight>
              </a:rPr>
              <a:t>Lien https</a:t>
            </a:r>
            <a:endParaRPr lang="fr-FR" sz="900" dirty="0">
              <a:solidFill>
                <a:srgbClr val="C00000"/>
              </a:solidFill>
              <a:highlight>
                <a:srgbClr val="FFFF00"/>
              </a:highlight>
            </a:endParaRPr>
          </a:p>
        </p:txBody>
      </p:sp>
      <p:sp>
        <p:nvSpPr>
          <p:cNvPr id="77" name="Bulle narrative : rectangle à coins arrondis 76">
            <a:extLst>
              <a:ext uri="{FF2B5EF4-FFF2-40B4-BE49-F238E27FC236}">
                <a16:creationId xmlns:a16="http://schemas.microsoft.com/office/drawing/2014/main" id="{B70527B8-8BD2-475B-A88A-399E14EAB2C4}"/>
              </a:ext>
            </a:extLst>
          </p:cNvPr>
          <p:cNvSpPr/>
          <p:nvPr/>
        </p:nvSpPr>
        <p:spPr>
          <a:xfrm>
            <a:off x="6584779" y="4121807"/>
            <a:ext cx="611490" cy="213696"/>
          </a:xfrm>
          <a:prstGeom prst="wedgeRoundRectCallout">
            <a:avLst>
              <a:gd name="adj1" fmla="val -49982"/>
              <a:gd name="adj2" fmla="val 75109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  <a:highlight>
                  <a:srgbClr val="FFFF00"/>
                </a:highlight>
              </a:rPr>
              <a:t>Lien https</a:t>
            </a:r>
            <a:endParaRPr lang="fr-FR" sz="900" dirty="0">
              <a:solidFill>
                <a:srgbClr val="C00000"/>
              </a:solidFill>
              <a:highlight>
                <a:srgbClr val="FFFF00"/>
              </a:highlight>
            </a:endParaRPr>
          </a:p>
        </p:txBody>
      </p:sp>
      <p:sp>
        <p:nvSpPr>
          <p:cNvPr id="48" name="Flèche : double flèche horizontale 47">
            <a:extLst>
              <a:ext uri="{FF2B5EF4-FFF2-40B4-BE49-F238E27FC236}">
                <a16:creationId xmlns:a16="http://schemas.microsoft.com/office/drawing/2014/main" id="{A3A0FAC1-E281-49BF-ACE7-DCEE62DA3512}"/>
              </a:ext>
            </a:extLst>
          </p:cNvPr>
          <p:cNvSpPr/>
          <p:nvPr/>
        </p:nvSpPr>
        <p:spPr>
          <a:xfrm rot="670712">
            <a:off x="5661095" y="2170253"/>
            <a:ext cx="1573361" cy="239978"/>
          </a:xfrm>
          <a:prstGeom prst="leftRightArrow">
            <a:avLst/>
          </a:prstGeom>
          <a:solidFill>
            <a:srgbClr val="F05033"/>
          </a:solidFill>
          <a:ln>
            <a:solidFill>
              <a:srgbClr val="F050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7E8C5FB-1F78-4B28-894B-03967B6AAF71}"/>
              </a:ext>
            </a:extLst>
          </p:cNvPr>
          <p:cNvSpPr/>
          <p:nvPr/>
        </p:nvSpPr>
        <p:spPr>
          <a:xfrm>
            <a:off x="6164542" y="2157684"/>
            <a:ext cx="591207" cy="291519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pic>
        <p:nvPicPr>
          <p:cNvPr id="28" name="Picture 6" descr="15' POUR COMPRENDRE : Git et GitHub">
            <a:extLst>
              <a:ext uri="{FF2B5EF4-FFF2-40B4-BE49-F238E27FC236}">
                <a16:creationId xmlns:a16="http://schemas.microsoft.com/office/drawing/2014/main" id="{7FD9E524-A9DD-4E58-8791-F9DA20504D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16" t="29094" r="59451" b="28463"/>
          <a:stretch/>
        </p:blipFill>
        <p:spPr bwMode="auto">
          <a:xfrm>
            <a:off x="6169142" y="2175134"/>
            <a:ext cx="582005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Bulle narrative : rectangle à coins arrondis 79">
            <a:extLst>
              <a:ext uri="{FF2B5EF4-FFF2-40B4-BE49-F238E27FC236}">
                <a16:creationId xmlns:a16="http://schemas.microsoft.com/office/drawing/2014/main" id="{4A84ED7F-B170-42A6-9478-5F1162B6E117}"/>
              </a:ext>
            </a:extLst>
          </p:cNvPr>
          <p:cNvSpPr/>
          <p:nvPr/>
        </p:nvSpPr>
        <p:spPr>
          <a:xfrm>
            <a:off x="6267070" y="2201772"/>
            <a:ext cx="611490" cy="213696"/>
          </a:xfrm>
          <a:prstGeom prst="wedgeRoundRectCallout">
            <a:avLst>
              <a:gd name="adj1" fmla="val -49982"/>
              <a:gd name="adj2" fmla="val 75109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  <a:highlight>
                  <a:srgbClr val="FFFF00"/>
                </a:highlight>
              </a:rPr>
              <a:t>Lien https</a:t>
            </a:r>
            <a:endParaRPr lang="fr-FR" sz="900" dirty="0">
              <a:solidFill>
                <a:srgbClr val="C00000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6586405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5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xx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615454BF-057F-46C8-BA4B-D747DDF7EC55}"/>
              </a:ext>
            </a:extLst>
          </p:cNvPr>
          <p:cNvSpPr/>
          <p:nvPr/>
        </p:nvSpPr>
        <p:spPr>
          <a:xfrm>
            <a:off x="991025" y="4228681"/>
            <a:ext cx="3060822" cy="1599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Procfile</a:t>
            </a:r>
            <a:r>
              <a:rPr lang="fr-FR" dirty="0"/>
              <a:t> : spécifie les commandes qui sont exécutées par l’application du démarrage</a:t>
            </a:r>
          </a:p>
          <a:p>
            <a:pPr algn="ctr"/>
            <a:r>
              <a:rPr lang="fr-FR" dirty="0"/>
              <a:t>On lui passe : le process type (web), cela permet à </a:t>
            </a:r>
            <a:r>
              <a:rPr lang="fr-FR" dirty="0" err="1"/>
              <a:t>Heroku</a:t>
            </a:r>
            <a:r>
              <a:rPr lang="fr-FR" dirty="0"/>
              <a:t> de recevoir un lien HTTPS externe</a:t>
            </a:r>
          </a:p>
          <a:p>
            <a:pPr algn="ctr"/>
            <a:endParaRPr lang="fr-FR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85D374E-2FFE-4609-83C6-1078BF988C44}"/>
              </a:ext>
            </a:extLst>
          </p:cNvPr>
          <p:cNvSpPr/>
          <p:nvPr/>
        </p:nvSpPr>
        <p:spPr>
          <a:xfrm>
            <a:off x="1033287" y="2074519"/>
            <a:ext cx="3060822" cy="1599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App Flask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1DDDD97C-1073-4E38-B492-4172458836D6}"/>
              </a:ext>
            </a:extLst>
          </p:cNvPr>
          <p:cNvSpPr/>
          <p:nvPr/>
        </p:nvSpPr>
        <p:spPr>
          <a:xfrm>
            <a:off x="4530058" y="2378791"/>
            <a:ext cx="3060822" cy="1599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ashboard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790A87E-0DB0-41E8-95B1-92F989CD402A}"/>
              </a:ext>
            </a:extLst>
          </p:cNvPr>
          <p:cNvSpPr/>
          <p:nvPr/>
        </p:nvSpPr>
        <p:spPr>
          <a:xfrm>
            <a:off x="8213990" y="1677450"/>
            <a:ext cx="3060822" cy="1599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Requirements</a:t>
            </a:r>
            <a:endParaRPr lang="fr-FR" dirty="0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39440AD-57A9-4D98-8376-751D161FA456}"/>
              </a:ext>
            </a:extLst>
          </p:cNvPr>
          <p:cNvSpPr/>
          <p:nvPr/>
        </p:nvSpPr>
        <p:spPr>
          <a:xfrm>
            <a:off x="9902700" y="3429000"/>
            <a:ext cx="3060822" cy="1599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Run local api sh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6B2BFC87-BFF7-4FD5-A25E-BC385255825E}"/>
              </a:ext>
            </a:extLst>
          </p:cNvPr>
          <p:cNvSpPr/>
          <p:nvPr/>
        </p:nvSpPr>
        <p:spPr>
          <a:xfrm>
            <a:off x="9902700" y="4436508"/>
            <a:ext cx="3060822" cy="1599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tart serveur.sh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0338B73-B72A-43A0-99CB-ACF1A9F83077}"/>
              </a:ext>
            </a:extLst>
          </p:cNvPr>
          <p:cNvSpPr/>
          <p:nvPr/>
        </p:nvSpPr>
        <p:spPr>
          <a:xfrm>
            <a:off x="5175733" y="4332793"/>
            <a:ext cx="3060822" cy="1599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wsgi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701061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3900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8186474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B8964874-327F-415D-BCAE-3A167C8BC0AA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0285A52-EBC7-4325-95F2-3CD6F0B9EC9E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" name="Espace réservé du numéro de diapositive 3">
              <a:extLst>
                <a:ext uri="{FF2B5EF4-FFF2-40B4-BE49-F238E27FC236}">
                  <a16:creationId xmlns:a16="http://schemas.microsoft.com/office/drawing/2014/main" id="{14D3F94D-769D-443D-A48E-6E029FEB1FC1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5" name="Triangle rectangle 4">
              <a:extLst>
                <a:ext uri="{FF2B5EF4-FFF2-40B4-BE49-F238E27FC236}">
                  <a16:creationId xmlns:a16="http://schemas.microsoft.com/office/drawing/2014/main" id="{03DF2BB4-920B-4810-8B93-7B3EE0002E21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D63CFF04-09DC-4F80-A6EC-5C3C746635FD}"/>
              </a:ext>
            </a:extLst>
          </p:cNvPr>
          <p:cNvSpPr/>
          <p:nvPr/>
        </p:nvSpPr>
        <p:spPr>
          <a:xfrm>
            <a:off x="0" y="0"/>
            <a:ext cx="3384645" cy="684819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Sommai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0BE8B4E1-0B91-4CF5-BC1C-EBE21E7305A1}"/>
              </a:ext>
            </a:extLst>
          </p:cNvPr>
          <p:cNvCxnSpPr>
            <a:cxnSpLocks/>
          </p:cNvCxnSpPr>
          <p:nvPr/>
        </p:nvCxnSpPr>
        <p:spPr>
          <a:xfrm>
            <a:off x="4384035" y="-3838"/>
            <a:ext cx="0" cy="6876000"/>
          </a:xfrm>
          <a:prstGeom prst="line">
            <a:avLst/>
          </a:prstGeom>
          <a:ln w="28575">
            <a:gradFill>
              <a:gsLst>
                <a:gs pos="0">
                  <a:srgbClr val="9966FF"/>
                </a:gs>
                <a:gs pos="74000">
                  <a:srgbClr val="6600FF"/>
                </a:gs>
                <a:gs pos="83000">
                  <a:srgbClr val="6600FF"/>
                </a:gs>
                <a:gs pos="100000">
                  <a:srgbClr val="2A0068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0E9F9A3-9796-4DDD-BF59-5F7FC710B737}"/>
              </a:ext>
            </a:extLst>
          </p:cNvPr>
          <p:cNvSpPr/>
          <p:nvPr/>
        </p:nvSpPr>
        <p:spPr>
          <a:xfrm>
            <a:off x="3934035" y="860347"/>
            <a:ext cx="900000" cy="280717"/>
          </a:xfrm>
          <a:prstGeom prst="rect">
            <a:avLst/>
          </a:prstGeom>
          <a:solidFill>
            <a:srgbClr val="9966FF"/>
          </a:solidFill>
          <a:ln>
            <a:solidFill>
              <a:srgbClr val="99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1F0383-ADD7-447B-A60D-51377F241CCE}"/>
              </a:ext>
            </a:extLst>
          </p:cNvPr>
          <p:cNvSpPr/>
          <p:nvPr/>
        </p:nvSpPr>
        <p:spPr>
          <a:xfrm>
            <a:off x="3934035" y="3725371"/>
            <a:ext cx="900000" cy="280717"/>
          </a:xfrm>
          <a:prstGeom prst="rect">
            <a:avLst/>
          </a:prstGeom>
          <a:solidFill>
            <a:srgbClr val="4600AC"/>
          </a:solidFill>
          <a:ln>
            <a:solidFill>
              <a:srgbClr val="460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128558-D9FF-4C25-931E-0021BED6E3A0}"/>
              </a:ext>
            </a:extLst>
          </p:cNvPr>
          <p:cNvSpPr/>
          <p:nvPr/>
        </p:nvSpPr>
        <p:spPr>
          <a:xfrm>
            <a:off x="3934035" y="2292859"/>
            <a:ext cx="900000" cy="280717"/>
          </a:xfrm>
          <a:prstGeom prst="rect">
            <a:avLst/>
          </a:prstGeom>
          <a:solidFill>
            <a:srgbClr val="6400F6"/>
          </a:solidFill>
          <a:ln>
            <a:solidFill>
              <a:srgbClr val="6400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530ECB-57EA-4F46-9DC9-4440579A2186}"/>
              </a:ext>
            </a:extLst>
          </p:cNvPr>
          <p:cNvSpPr/>
          <p:nvPr/>
        </p:nvSpPr>
        <p:spPr>
          <a:xfrm>
            <a:off x="3934035" y="5157883"/>
            <a:ext cx="900000" cy="280717"/>
          </a:xfrm>
          <a:prstGeom prst="rect">
            <a:avLst/>
          </a:prstGeom>
          <a:solidFill>
            <a:srgbClr val="300076"/>
          </a:solidFill>
          <a:ln>
            <a:solidFill>
              <a:srgbClr val="3000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7D27756-AE21-4125-A8EA-8C3C18D4D209}"/>
              </a:ext>
            </a:extLst>
          </p:cNvPr>
          <p:cNvSpPr/>
          <p:nvPr/>
        </p:nvSpPr>
        <p:spPr>
          <a:xfrm>
            <a:off x="3934035" y="1591988"/>
            <a:ext cx="900000" cy="280717"/>
          </a:xfrm>
          <a:prstGeom prst="rect">
            <a:avLst/>
          </a:prstGeom>
          <a:solidFill>
            <a:srgbClr val="8837FF"/>
          </a:solidFill>
          <a:ln>
            <a:solidFill>
              <a:srgbClr val="883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1B993-BF7A-4B50-8507-3AB49685A983}"/>
              </a:ext>
            </a:extLst>
          </p:cNvPr>
          <p:cNvSpPr/>
          <p:nvPr/>
        </p:nvSpPr>
        <p:spPr>
          <a:xfrm>
            <a:off x="3934035" y="2993730"/>
            <a:ext cx="900000" cy="280717"/>
          </a:xfrm>
          <a:prstGeom prst="rect">
            <a:avLst/>
          </a:prstGeom>
          <a:solidFill>
            <a:srgbClr val="5A00DE"/>
          </a:solidFill>
          <a:ln>
            <a:solidFill>
              <a:srgbClr val="5A00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A1CBCD-CD57-4624-BDB7-05547CADEC85}"/>
              </a:ext>
            </a:extLst>
          </p:cNvPr>
          <p:cNvSpPr/>
          <p:nvPr/>
        </p:nvSpPr>
        <p:spPr>
          <a:xfrm>
            <a:off x="3934035" y="4457012"/>
            <a:ext cx="900000" cy="280717"/>
          </a:xfrm>
          <a:prstGeom prst="rect">
            <a:avLst/>
          </a:prstGeom>
          <a:solidFill>
            <a:srgbClr val="4400A8"/>
          </a:solidFill>
          <a:ln>
            <a:solidFill>
              <a:srgbClr val="4400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6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469C91-7881-4349-9955-49BCB04892E4}"/>
              </a:ext>
            </a:extLst>
          </p:cNvPr>
          <p:cNvSpPr/>
          <p:nvPr/>
        </p:nvSpPr>
        <p:spPr>
          <a:xfrm>
            <a:off x="3934035" y="5858754"/>
            <a:ext cx="900000" cy="280717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8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E461C3-2E08-4C07-96D7-053DCE361D44}"/>
              </a:ext>
            </a:extLst>
          </p:cNvPr>
          <p:cNvSpPr/>
          <p:nvPr/>
        </p:nvSpPr>
        <p:spPr>
          <a:xfrm>
            <a:off x="4943217" y="795988"/>
            <a:ext cx="4080679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FINIR une </a:t>
            </a:r>
            <a:r>
              <a:rPr lang="fr-FR" b="1" dirty="0">
                <a:solidFill>
                  <a:srgbClr val="2A0068"/>
                </a:solidFill>
              </a:rPr>
              <a:t>stratégie d’apprentiss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E2203D-7DAD-4EE7-B874-340036DB79C4}"/>
              </a:ext>
            </a:extLst>
          </p:cNvPr>
          <p:cNvSpPr/>
          <p:nvPr/>
        </p:nvSpPr>
        <p:spPr>
          <a:xfrm>
            <a:off x="4943215" y="1527629"/>
            <a:ext cx="4716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ALYSER des </a:t>
            </a:r>
            <a:r>
              <a:rPr lang="fr-FR" b="1" dirty="0">
                <a:solidFill>
                  <a:srgbClr val="2A0068"/>
                </a:solidFill>
              </a:rPr>
              <a:t>données</a:t>
            </a:r>
            <a:r>
              <a:rPr lang="fr-FR" dirty="0">
                <a:solidFill>
                  <a:srgbClr val="2A0068"/>
                </a:solidFill>
              </a:rPr>
              <a:t> de </a:t>
            </a:r>
            <a:r>
              <a:rPr lang="fr-FR" b="1" dirty="0">
                <a:solidFill>
                  <a:srgbClr val="2A0068"/>
                </a:solidFill>
              </a:rPr>
              <a:t>systèmes éducatif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ABDD1E-733C-4EE1-AF8B-6C9296DFE0B9}"/>
              </a:ext>
            </a:extLst>
          </p:cNvPr>
          <p:cNvSpPr/>
          <p:nvPr/>
        </p:nvSpPr>
        <p:spPr>
          <a:xfrm>
            <a:off x="4943215" y="2225500"/>
            <a:ext cx="6120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ONCEVOIR une </a:t>
            </a:r>
            <a:r>
              <a:rPr lang="fr-FR" b="1" dirty="0">
                <a:solidFill>
                  <a:srgbClr val="2A0068"/>
                </a:solidFill>
              </a:rPr>
              <a:t>application</a:t>
            </a:r>
            <a:r>
              <a:rPr lang="fr-FR" dirty="0">
                <a:solidFill>
                  <a:srgbClr val="2A0068"/>
                </a:solidFill>
              </a:rPr>
              <a:t> au service de la </a:t>
            </a:r>
            <a:r>
              <a:rPr lang="fr-FR" b="1" dirty="0">
                <a:solidFill>
                  <a:srgbClr val="2A0068"/>
                </a:solidFill>
              </a:rPr>
              <a:t>santé publ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FAA81C-F595-4F97-B686-1582BFCBBDAF}"/>
              </a:ext>
            </a:extLst>
          </p:cNvPr>
          <p:cNvSpPr/>
          <p:nvPr/>
        </p:nvSpPr>
        <p:spPr>
          <a:xfrm>
            <a:off x="4938666" y="2929371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TICIPER les </a:t>
            </a:r>
            <a:r>
              <a:rPr lang="fr-FR" b="1" dirty="0">
                <a:solidFill>
                  <a:srgbClr val="2A0068"/>
                </a:solidFill>
              </a:rPr>
              <a:t>besoins en consommation électrique </a:t>
            </a:r>
            <a:r>
              <a:rPr lang="fr-FR" dirty="0">
                <a:solidFill>
                  <a:srgbClr val="2A0068"/>
                </a:solidFill>
              </a:rPr>
              <a:t>de bâtiments</a:t>
            </a:r>
            <a:endParaRPr lang="fr-FR" b="1" dirty="0">
              <a:solidFill>
                <a:srgbClr val="2A0068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637E5B0-A7FC-4C08-96F8-5824C9531136}"/>
              </a:ext>
            </a:extLst>
          </p:cNvPr>
          <p:cNvSpPr/>
          <p:nvPr/>
        </p:nvSpPr>
        <p:spPr>
          <a:xfrm>
            <a:off x="4938666" y="3661012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SEGMENTER des </a:t>
            </a:r>
            <a:r>
              <a:rPr lang="fr-FR" b="1" dirty="0">
                <a:solidFill>
                  <a:srgbClr val="2A0068"/>
                </a:solidFill>
              </a:rPr>
              <a:t>clients </a:t>
            </a:r>
            <a:r>
              <a:rPr lang="fr-FR" dirty="0">
                <a:solidFill>
                  <a:srgbClr val="2A0068"/>
                </a:solidFill>
              </a:rPr>
              <a:t>d’un </a:t>
            </a:r>
            <a:r>
              <a:rPr lang="fr-FR" b="1" dirty="0">
                <a:solidFill>
                  <a:srgbClr val="2A0068"/>
                </a:solidFill>
              </a:rPr>
              <a:t>site e-commer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FBC0AB-5735-42AD-8547-CCC38B49982F}"/>
              </a:ext>
            </a:extLst>
          </p:cNvPr>
          <p:cNvSpPr/>
          <p:nvPr/>
        </p:nvSpPr>
        <p:spPr>
          <a:xfrm>
            <a:off x="4938666" y="4392653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LASSIFIER automatiquement des </a:t>
            </a:r>
            <a:r>
              <a:rPr lang="fr-FR" b="1" dirty="0">
                <a:solidFill>
                  <a:srgbClr val="2A0068"/>
                </a:solidFill>
              </a:rPr>
              <a:t>biens de consomm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759EC53-FEE6-4AA2-B2C6-5D708D501187}"/>
              </a:ext>
            </a:extLst>
          </p:cNvPr>
          <p:cNvSpPr/>
          <p:nvPr/>
        </p:nvSpPr>
        <p:spPr>
          <a:xfrm>
            <a:off x="4943215" y="5093524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rgbClr val="4600AC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IMPLÉMENTER un </a:t>
            </a:r>
            <a:r>
              <a:rPr lang="fr-FR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D02D1DA-C909-4DDF-8FBB-F6E950CB2692}"/>
              </a:ext>
            </a:extLst>
          </p:cNvPr>
          <p:cNvSpPr/>
          <p:nvPr/>
        </p:nvSpPr>
        <p:spPr>
          <a:xfrm>
            <a:off x="4988123" y="5794395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PLOYER un modèle dans le </a:t>
            </a:r>
            <a:r>
              <a:rPr lang="fr-FR" b="1" dirty="0">
                <a:solidFill>
                  <a:srgbClr val="2A0068"/>
                </a:solidFill>
              </a:rPr>
              <a:t>cloud</a:t>
            </a:r>
          </a:p>
        </p:txBody>
      </p:sp>
    </p:spTree>
    <p:extLst>
      <p:ext uri="{BB962C8B-B14F-4D97-AF65-F5344CB8AC3E}">
        <p14:creationId xmlns:p14="http://schemas.microsoft.com/office/powerpoint/2010/main" val="20117724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rectangle 1">
            <a:extLst>
              <a:ext uri="{FF2B5EF4-FFF2-40B4-BE49-F238E27FC236}">
                <a16:creationId xmlns:a16="http://schemas.microsoft.com/office/drawing/2014/main" id="{72951AAC-3EAF-4CBD-9C47-3427BEE6EB12}"/>
              </a:ext>
            </a:extLst>
          </p:cNvPr>
          <p:cNvSpPr/>
          <p:nvPr/>
        </p:nvSpPr>
        <p:spPr>
          <a:xfrm rot="5400000">
            <a:off x="228600" y="-228600"/>
            <a:ext cx="6858000" cy="7315200"/>
          </a:xfrm>
          <a:prstGeom prst="rt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DA96A6-BFE0-4B2E-9B50-F95BE4FD27D1}"/>
              </a:ext>
            </a:extLst>
          </p:cNvPr>
          <p:cNvSpPr/>
          <p:nvPr/>
        </p:nvSpPr>
        <p:spPr>
          <a:xfrm>
            <a:off x="1019384" y="2071927"/>
            <a:ext cx="1895265" cy="419813"/>
          </a:xfrm>
          <a:prstGeom prst="rect">
            <a:avLst/>
          </a:prstGeom>
          <a:solidFill>
            <a:srgbClr val="2A0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rojet 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056CFB-05C3-4337-B70E-26C3D82023A4}"/>
              </a:ext>
            </a:extLst>
          </p:cNvPr>
          <p:cNvSpPr/>
          <p:nvPr/>
        </p:nvSpPr>
        <p:spPr>
          <a:xfrm>
            <a:off x="529380" y="2588387"/>
            <a:ext cx="2914649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IMPLÉMENTER </a:t>
            </a:r>
          </a:p>
          <a:p>
            <a:pPr algn="ctr"/>
            <a:r>
              <a:rPr lang="fr-FR" b="1" dirty="0">
                <a:solidFill>
                  <a:schemeClr val="bg1"/>
                </a:solidFill>
              </a:rPr>
              <a:t>un modèle de scor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22F999-E486-4C74-8D3D-7CAE4787F417}"/>
              </a:ext>
            </a:extLst>
          </p:cNvPr>
          <p:cNvSpPr/>
          <p:nvPr/>
        </p:nvSpPr>
        <p:spPr>
          <a:xfrm>
            <a:off x="5720682" y="1991360"/>
            <a:ext cx="5813316" cy="4134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1 ● Contexte – </a:t>
            </a:r>
            <a:r>
              <a:rPr lang="fr-FR" dirty="0">
                <a:solidFill>
                  <a:srgbClr val="2A0068"/>
                </a:solidFill>
              </a:rPr>
              <a:t>Rappel de la problématique et présentation du jeu de données (5 min)</a:t>
            </a: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2 ● Modélisation – </a:t>
            </a:r>
            <a:r>
              <a:rPr lang="fr-FR" dirty="0">
                <a:solidFill>
                  <a:srgbClr val="2A0068"/>
                </a:solidFill>
              </a:rPr>
              <a:t>Explication de l’approche de modélisation (10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3 ● dashboard – </a:t>
            </a:r>
            <a:r>
              <a:rPr lang="fr-FR" dirty="0">
                <a:solidFill>
                  <a:srgbClr val="2A0068"/>
                </a:solidFill>
              </a:rPr>
              <a:t>Présentation du dashboard (5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4 </a:t>
            </a:r>
            <a:r>
              <a:rPr lang="fr-FR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● </a:t>
            </a:r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CONCLUSION/Q&amp;A </a:t>
            </a:r>
            <a:r>
              <a:rPr lang="fr-FR" dirty="0">
                <a:solidFill>
                  <a:srgbClr val="2A0068"/>
                </a:solidFill>
              </a:rPr>
              <a:t>(5-10 min)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5295DDB8-1A0F-49B1-8060-0F51D933D15D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1E8E96-A3BF-4FDA-B490-023755BBC53A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" name="Espace réservé du numéro de diapositive 3">
              <a:extLst>
                <a:ext uri="{FF2B5EF4-FFF2-40B4-BE49-F238E27FC236}">
                  <a16:creationId xmlns:a16="http://schemas.microsoft.com/office/drawing/2014/main" id="{FE625BF4-A70A-446D-B58D-6C7CC7FD1145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9" name="Triangle rectangle 8">
              <a:extLst>
                <a:ext uri="{FF2B5EF4-FFF2-40B4-BE49-F238E27FC236}">
                  <a16:creationId xmlns:a16="http://schemas.microsoft.com/office/drawing/2014/main" id="{04F291E6-5902-437F-BBC0-B91B2B384886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060923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1. Contexte</a:t>
            </a:r>
          </a:p>
          <a:p>
            <a:r>
              <a:rPr lang="fr-FR" sz="4000" dirty="0"/>
              <a:t>	Rappel de la problématique</a:t>
            </a:r>
          </a:p>
          <a:p>
            <a:r>
              <a:rPr lang="fr-FR" sz="4000" dirty="0"/>
              <a:t>	Feature engineering</a:t>
            </a:r>
          </a:p>
          <a:p>
            <a:r>
              <a:rPr lang="fr-FR" sz="4000" dirty="0"/>
              <a:t>	Traitement du déséquilib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6693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506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la problémat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F2A888B-9ECF-4420-A9CF-7429533584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7948" y="2142008"/>
            <a:ext cx="2756370" cy="262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B62CD7A-9337-4FC8-B28F-B70AA0F8F7F1}"/>
              </a:ext>
            </a:extLst>
          </p:cNvPr>
          <p:cNvSpPr/>
          <p:nvPr/>
        </p:nvSpPr>
        <p:spPr>
          <a:xfrm>
            <a:off x="1207948" y="4853141"/>
            <a:ext cx="2756370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A0068"/>
                </a:solidFill>
              </a:rPr>
              <a:t>« Prêt à dépenser » est une </a:t>
            </a:r>
            <a:r>
              <a:rPr lang="fr-FR" b="1" i="1" dirty="0">
                <a:solidFill>
                  <a:srgbClr val="2A0068"/>
                </a:solidFill>
              </a:rPr>
              <a:t>société de crédits à la consommation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C2743758-7832-4AB5-BE26-6C2639A87256}"/>
              </a:ext>
            </a:extLst>
          </p:cNvPr>
          <p:cNvCxnSpPr/>
          <p:nvPr/>
        </p:nvCxnSpPr>
        <p:spPr>
          <a:xfrm flipV="1">
            <a:off x="5327035" y="2480627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91886D88-2B5E-40DA-A1BF-653B67AC489D}"/>
              </a:ext>
            </a:extLst>
          </p:cNvPr>
          <p:cNvCxnSpPr/>
          <p:nvPr/>
        </p:nvCxnSpPr>
        <p:spPr>
          <a:xfrm flipV="1">
            <a:off x="5327035" y="3821747"/>
            <a:ext cx="5796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7FF9726B-3BFF-4D3C-81FF-CFE6D49483EB}"/>
              </a:ext>
            </a:extLst>
          </p:cNvPr>
          <p:cNvSpPr/>
          <p:nvPr/>
        </p:nvSpPr>
        <p:spPr>
          <a:xfrm>
            <a:off x="5365657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AAA2BBC-0389-498E-B394-A3F4BDC13138}"/>
              </a:ext>
            </a:extLst>
          </p:cNvPr>
          <p:cNvSpPr/>
          <p:nvPr/>
        </p:nvSpPr>
        <p:spPr>
          <a:xfrm>
            <a:off x="8274942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Donner une </a:t>
            </a:r>
            <a:r>
              <a:rPr lang="fr-FR" sz="1800" b="1" dirty="0">
                <a:solidFill>
                  <a:srgbClr val="2A0068"/>
                </a:solidFill>
              </a:rPr>
              <a:t>prédiction sur la probabilité de faillite </a:t>
            </a:r>
            <a:r>
              <a:rPr lang="fr-FR" sz="1800" dirty="0">
                <a:solidFill>
                  <a:srgbClr val="2A0068"/>
                </a:solidFill>
              </a:rPr>
              <a:t>d'un client de façon automatique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CC75E79-878A-4EF0-B840-565AFB1E3D03}"/>
              </a:ext>
            </a:extLst>
          </p:cNvPr>
          <p:cNvSpPr/>
          <p:nvPr/>
        </p:nvSpPr>
        <p:spPr>
          <a:xfrm>
            <a:off x="5113664" y="292190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1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7B4788A-E88B-4B8A-B15D-B964A6338A08}"/>
              </a:ext>
            </a:extLst>
          </p:cNvPr>
          <p:cNvSpPr/>
          <p:nvPr/>
        </p:nvSpPr>
        <p:spPr>
          <a:xfrm>
            <a:off x="5365657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FF4FB59-6182-430D-9CC2-E15889247E67}"/>
              </a:ext>
            </a:extLst>
          </p:cNvPr>
          <p:cNvSpPr/>
          <p:nvPr/>
        </p:nvSpPr>
        <p:spPr>
          <a:xfrm>
            <a:off x="8274942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Interpréter plus facilement </a:t>
            </a:r>
            <a:r>
              <a:rPr lang="fr-FR" sz="1800" b="1" dirty="0">
                <a:solidFill>
                  <a:srgbClr val="2A0068"/>
                </a:solidFill>
              </a:rPr>
              <a:t>les prédictions </a:t>
            </a:r>
            <a:r>
              <a:rPr lang="fr-FR" sz="1800" dirty="0">
                <a:solidFill>
                  <a:srgbClr val="2A0068"/>
                </a:solidFill>
              </a:rPr>
              <a:t>faites par le modèle</a:t>
            </a:r>
            <a:endParaRPr lang="fr-FR" dirty="0">
              <a:solidFill>
                <a:srgbClr val="2A0068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A</a:t>
            </a:r>
            <a:r>
              <a:rPr lang="fr-FR" sz="1800" b="1" dirty="0">
                <a:solidFill>
                  <a:srgbClr val="2A0068"/>
                </a:solidFill>
              </a:rPr>
              <a:t>méliorer la connaissance client </a:t>
            </a:r>
            <a:r>
              <a:rPr lang="fr-FR" sz="1800" dirty="0">
                <a:solidFill>
                  <a:srgbClr val="2A0068"/>
                </a:solidFill>
              </a:rPr>
              <a:t>des chargés de relation client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08B68821-04F2-412A-AFFB-D6DB194274EC}"/>
              </a:ext>
            </a:extLst>
          </p:cNvPr>
          <p:cNvSpPr/>
          <p:nvPr/>
        </p:nvSpPr>
        <p:spPr>
          <a:xfrm>
            <a:off x="5113664" y="456972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2</a:t>
            </a:r>
          </a:p>
        </p:txBody>
      </p: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6437FB24-C3DB-4F91-8A70-663F5B3BE5FA}"/>
              </a:ext>
            </a:extLst>
          </p:cNvPr>
          <p:cNvCxnSpPr/>
          <p:nvPr/>
        </p:nvCxnSpPr>
        <p:spPr>
          <a:xfrm flipV="1">
            <a:off x="5345297" y="5734268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90FAE466-63FF-4371-B58E-9602F6A79B85}"/>
              </a:ext>
            </a:extLst>
          </p:cNvPr>
          <p:cNvSpPr/>
          <p:nvPr/>
        </p:nvSpPr>
        <p:spPr>
          <a:xfrm>
            <a:off x="5365657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Miss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4BA223B-B055-4101-82C5-21875F52DE84}"/>
              </a:ext>
            </a:extLst>
          </p:cNvPr>
          <p:cNvSpPr/>
          <p:nvPr/>
        </p:nvSpPr>
        <p:spPr>
          <a:xfrm>
            <a:off x="8274942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Objectif(s)</a:t>
            </a:r>
          </a:p>
        </p:txBody>
      </p:sp>
      <p:sp>
        <p:nvSpPr>
          <p:cNvPr id="14" name="Triangle isocèle 13">
            <a:extLst>
              <a:ext uri="{FF2B5EF4-FFF2-40B4-BE49-F238E27FC236}">
                <a16:creationId xmlns:a16="http://schemas.microsoft.com/office/drawing/2014/main" id="{0CFFBF9D-00D7-4EFF-A706-B145EBBA691B}"/>
              </a:ext>
            </a:extLst>
          </p:cNvPr>
          <p:cNvSpPr/>
          <p:nvPr/>
        </p:nvSpPr>
        <p:spPr>
          <a:xfrm rot="5400000">
            <a:off x="4173650" y="3712573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TextBox 26">
            <a:extLst>
              <a:ext uri="{FF2B5EF4-FFF2-40B4-BE49-F238E27FC236}">
                <a16:creationId xmlns:a16="http://schemas.microsoft.com/office/drawing/2014/main" id="{1351EC1C-2D90-44A5-A689-54F3174F5D2C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9" name="Straight Connector 36">
            <a:extLst>
              <a:ext uri="{FF2B5EF4-FFF2-40B4-BE49-F238E27FC236}">
                <a16:creationId xmlns:a16="http://schemas.microsoft.com/office/drawing/2014/main" id="{C9C2A573-E8E3-4785-9E86-359718B390B9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15417AB-D153-4318-A2F0-5CB3F295570D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522046A7-7CBA-4FFF-B3D7-C16CD7FC30DA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23">
            <a:extLst>
              <a:ext uri="{FF2B5EF4-FFF2-40B4-BE49-F238E27FC236}">
                <a16:creationId xmlns:a16="http://schemas.microsoft.com/office/drawing/2014/main" id="{6336A900-F1DB-4BD3-9D23-38A522BD14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EA02D699-901D-4E80-B7A3-09293FEB435E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instruction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256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Jeux de données disponi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9698" name="Picture 2" descr="Data">
            <a:extLst>
              <a:ext uri="{FF2B5EF4-FFF2-40B4-BE49-F238E27FC236}">
                <a16:creationId xmlns:a16="http://schemas.microsoft.com/office/drawing/2014/main" id="{E341451F-6831-4699-9121-10B7FB714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226" y="1573491"/>
            <a:ext cx="7452000" cy="4784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donnée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0530EC2B-C78B-4892-A2E7-C994E9116139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74D73DF6-4CEC-4C01-BB68-003A33AA0263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3BF28542-B9A2-48C2-9DA2-EB159AD57CAC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F40217F-767A-4856-9D59-99DA20575B40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3">
            <a:extLst>
              <a:ext uri="{FF2B5EF4-FFF2-40B4-BE49-F238E27FC236}">
                <a16:creationId xmlns:a16="http://schemas.microsoft.com/office/drawing/2014/main" id="{6B257E81-963E-4BDA-8104-BF099D75AB99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949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394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7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ise en place du feature engineer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29226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notebook </a:t>
            </a:r>
            <a:r>
              <a:rPr lang="fr-FR" sz="1400" dirty="0">
                <a:solidFill>
                  <a:srgbClr val="2A0068"/>
                </a:solidFill>
                <a:hlinkClick r:id="rId7"/>
              </a:rPr>
              <a:t>issu de Kaggle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C25688F-74C0-47C5-9D25-049C4F7EA97B}"/>
              </a:ext>
            </a:extLst>
          </p:cNvPr>
          <p:cNvSpPr/>
          <p:nvPr/>
        </p:nvSpPr>
        <p:spPr>
          <a:xfrm>
            <a:off x="1083927" y="176689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Traitement des colonnes avec un </a:t>
            </a:r>
            <a:r>
              <a:rPr lang="fr-FR" sz="2000" b="1" dirty="0">
                <a:solidFill>
                  <a:srgbClr val="2A0068"/>
                </a:solidFill>
              </a:rPr>
              <a:t>taux de NaN supérieur à 40% </a:t>
            </a:r>
            <a:r>
              <a:rPr lang="fr-FR" sz="2000" dirty="0">
                <a:solidFill>
                  <a:srgbClr val="2A0068"/>
                </a:solidFill>
              </a:rPr>
              <a:t>(considérées comme moins utilisables que les autres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567DD1-956A-4EE4-85CD-6685F6805C7D}"/>
              </a:ext>
            </a:extLst>
          </p:cNvPr>
          <p:cNvSpPr/>
          <p:nvPr/>
        </p:nvSpPr>
        <p:spPr>
          <a:xfrm>
            <a:off x="1083927" y="2665787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Imputation de la médiane par colonne </a:t>
            </a:r>
            <a:r>
              <a:rPr lang="fr-FR" sz="2000" dirty="0">
                <a:solidFill>
                  <a:srgbClr val="2A0068"/>
                </a:solidFill>
              </a:rPr>
              <a:t>dans les NaN resta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2DF4723-14D1-4BE3-A3D5-4A4AFB5C070C}"/>
              </a:ext>
            </a:extLst>
          </p:cNvPr>
          <p:cNvSpPr/>
          <p:nvPr/>
        </p:nvSpPr>
        <p:spPr>
          <a:xfrm>
            <a:off x="1077626" y="359156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Vérification de la « qualité » </a:t>
            </a:r>
            <a:r>
              <a:rPr lang="fr-FR" sz="2000" dirty="0">
                <a:solidFill>
                  <a:srgbClr val="2A0068"/>
                </a:solidFill>
              </a:rPr>
              <a:t>de nos données, avec gestion des colonnes problématiques par rapport à nos attent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DEF0294-3171-4988-B173-D8C36A73A6AE}"/>
              </a:ext>
            </a:extLst>
          </p:cNvPr>
          <p:cNvSpPr/>
          <p:nvPr/>
        </p:nvSpPr>
        <p:spPr>
          <a:xfrm>
            <a:off x="1083927" y="4466871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Obtention de nouvelles variables </a:t>
            </a:r>
            <a:r>
              <a:rPr lang="fr-FR" sz="2000" dirty="0">
                <a:solidFill>
                  <a:srgbClr val="2A0068"/>
                </a:solidFill>
              </a:rPr>
              <a:t>à partir d’</a:t>
            </a:r>
            <a:r>
              <a:rPr lang="fr-FR" sz="2000" b="1" dirty="0">
                <a:solidFill>
                  <a:srgbClr val="2A0068"/>
                </a:solidFill>
              </a:rPr>
              <a:t>agrégats numériques et catégoriel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33842D1-F62C-4043-ADE2-868B9E55203F}"/>
              </a:ext>
            </a:extLst>
          </p:cNvPr>
          <p:cNvSpPr/>
          <p:nvPr/>
        </p:nvSpPr>
        <p:spPr>
          <a:xfrm>
            <a:off x="1077626" y="5392646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Création de features métiers</a:t>
            </a:r>
          </a:p>
        </p:txBody>
      </p:sp>
      <p:sp>
        <p:nvSpPr>
          <p:cNvPr id="41" name="Triangle isocèle 40">
            <a:extLst>
              <a:ext uri="{FF2B5EF4-FFF2-40B4-BE49-F238E27FC236}">
                <a16:creationId xmlns:a16="http://schemas.microsoft.com/office/drawing/2014/main" id="{6A07CC9E-788F-4847-88AF-ECC6449E8B4F}"/>
              </a:ext>
            </a:extLst>
          </p:cNvPr>
          <p:cNvSpPr/>
          <p:nvPr/>
        </p:nvSpPr>
        <p:spPr>
          <a:xfrm rot="5400000">
            <a:off x="7516290" y="3845808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62C981F-DBAD-475D-9AC8-700E1E2829B3}"/>
              </a:ext>
            </a:extLst>
          </p:cNvPr>
          <p:cNvSpPr/>
          <p:nvPr/>
        </p:nvSpPr>
        <p:spPr>
          <a:xfrm>
            <a:off x="8463445" y="5277928"/>
            <a:ext cx="2880001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btention d’un jeu de données de 356k clients </a:t>
            </a:r>
            <a:r>
              <a:rPr lang="fr-FR" i="1" dirty="0">
                <a:solidFill>
                  <a:srgbClr val="2A0068"/>
                </a:solidFill>
              </a:rPr>
              <a:t>(train + test) et </a:t>
            </a:r>
            <a:r>
              <a:rPr lang="fr-FR" b="1" i="1" dirty="0">
                <a:solidFill>
                  <a:srgbClr val="2A0068"/>
                </a:solidFill>
              </a:rPr>
              <a:t>28 variables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17A0836-0338-440D-9989-E7A330172A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3445" y="1908798"/>
            <a:ext cx="2880000" cy="32232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3" name="TextBox 26">
            <a:extLst>
              <a:ext uri="{FF2B5EF4-FFF2-40B4-BE49-F238E27FC236}">
                <a16:creationId xmlns:a16="http://schemas.microsoft.com/office/drawing/2014/main" id="{29A8A82A-5F33-4900-AD80-E2EB21EE644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68CBC1CE-3C20-445D-8B31-1CFD23B99F8B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26">
            <a:extLst>
              <a:ext uri="{FF2B5EF4-FFF2-40B4-BE49-F238E27FC236}">
                <a16:creationId xmlns:a16="http://schemas.microsoft.com/office/drawing/2014/main" id="{6C54F3A4-22FB-4449-B214-84BA81D05B79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6" name="Straight Connector 36">
            <a:extLst>
              <a:ext uri="{FF2B5EF4-FFF2-40B4-BE49-F238E27FC236}">
                <a16:creationId xmlns:a16="http://schemas.microsoft.com/office/drawing/2014/main" id="{DD247A26-EE97-4C56-AF31-7F63F8F99979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3">
            <a:extLst>
              <a:ext uri="{FF2B5EF4-FFF2-40B4-BE49-F238E27FC236}">
                <a16:creationId xmlns:a16="http://schemas.microsoft.com/office/drawing/2014/main" id="{A026AEE9-2FC4-42DF-A260-7389DF238A8C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E6A011DF-5126-47D0-A4AD-61D60A910FB2}"/>
              </a:ext>
            </a:extLst>
          </p:cNvPr>
          <p:cNvSpPr/>
          <p:nvPr/>
        </p:nvSpPr>
        <p:spPr>
          <a:xfrm>
            <a:off x="488555" y="446008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Rectangle : coins arrondis 49">
            <a:extLst>
              <a:ext uri="{FF2B5EF4-FFF2-40B4-BE49-F238E27FC236}">
                <a16:creationId xmlns:a16="http://schemas.microsoft.com/office/drawing/2014/main" id="{4280B1A8-F0DF-49E4-A4C7-2E9BBC571B57}"/>
              </a:ext>
            </a:extLst>
          </p:cNvPr>
          <p:cNvSpPr/>
          <p:nvPr/>
        </p:nvSpPr>
        <p:spPr>
          <a:xfrm>
            <a:off x="488555" y="357620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Rectangle : coins arrondis 47">
            <a:extLst>
              <a:ext uri="{FF2B5EF4-FFF2-40B4-BE49-F238E27FC236}">
                <a16:creationId xmlns:a16="http://schemas.microsoft.com/office/drawing/2014/main" id="{4DF4F207-CB81-4D13-A825-B05D8F295BA5}"/>
              </a:ext>
            </a:extLst>
          </p:cNvPr>
          <p:cNvSpPr/>
          <p:nvPr/>
        </p:nvSpPr>
        <p:spPr>
          <a:xfrm>
            <a:off x="473245" y="2660629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 : coins arrondis 51">
            <a:extLst>
              <a:ext uri="{FF2B5EF4-FFF2-40B4-BE49-F238E27FC236}">
                <a16:creationId xmlns:a16="http://schemas.microsoft.com/office/drawing/2014/main" id="{A88E63E0-FA90-4B04-90C1-4CA73D182050}"/>
              </a:ext>
            </a:extLst>
          </p:cNvPr>
          <p:cNvSpPr/>
          <p:nvPr/>
        </p:nvSpPr>
        <p:spPr>
          <a:xfrm>
            <a:off x="473245" y="5385516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52575D6F-DAD7-431B-9120-824ECBEE4356}"/>
              </a:ext>
            </a:extLst>
          </p:cNvPr>
          <p:cNvSpPr/>
          <p:nvPr/>
        </p:nvSpPr>
        <p:spPr>
          <a:xfrm>
            <a:off x="488555" y="176173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5" name="Graphique 24" descr="Loupe avec un remplissage uni">
            <a:extLst>
              <a:ext uri="{FF2B5EF4-FFF2-40B4-BE49-F238E27FC236}">
                <a16:creationId xmlns:a16="http://schemas.microsoft.com/office/drawing/2014/main" id="{B8E52F45-DBA3-40B1-8A63-F227318775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9866" y="1756732"/>
            <a:ext cx="720000" cy="720000"/>
          </a:xfrm>
          <a:prstGeom prst="rect">
            <a:avLst/>
          </a:prstGeom>
        </p:spPr>
      </p:pic>
      <p:pic>
        <p:nvPicPr>
          <p:cNvPr id="6" name="Graphique 5" descr="Liste de contrôle avec un remplissage uni">
            <a:extLst>
              <a:ext uri="{FF2B5EF4-FFF2-40B4-BE49-F238E27FC236}">
                <a16:creationId xmlns:a16="http://schemas.microsoft.com/office/drawing/2014/main" id="{0EC88E70-7CB8-40F1-96EE-29D2EFB13E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9546" y="2675662"/>
            <a:ext cx="720000" cy="720000"/>
          </a:xfrm>
          <a:prstGeom prst="rect">
            <a:avLst/>
          </a:prstGeom>
        </p:spPr>
      </p:pic>
      <p:pic>
        <p:nvPicPr>
          <p:cNvPr id="8" name="Graphique 7" descr="Presse-papiers badge avec un remplissage uni">
            <a:extLst>
              <a:ext uri="{FF2B5EF4-FFF2-40B4-BE49-F238E27FC236}">
                <a16:creationId xmlns:a16="http://schemas.microsoft.com/office/drawing/2014/main" id="{8C0F0266-F4F1-4864-AA6D-0F970D18AAC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9706" y="3567673"/>
            <a:ext cx="720000" cy="720000"/>
          </a:xfrm>
          <a:prstGeom prst="rect">
            <a:avLst/>
          </a:prstGeom>
        </p:spPr>
      </p:pic>
      <p:pic>
        <p:nvPicPr>
          <p:cNvPr id="10" name="Graphique 9" descr="Formes simples avec un remplissage uni">
            <a:extLst>
              <a:ext uri="{FF2B5EF4-FFF2-40B4-BE49-F238E27FC236}">
                <a16:creationId xmlns:a16="http://schemas.microsoft.com/office/drawing/2014/main" id="{14CACF1D-B82D-400F-AA2E-782F9D82E04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9706" y="4461713"/>
            <a:ext cx="720000" cy="720000"/>
          </a:xfrm>
          <a:prstGeom prst="rect">
            <a:avLst/>
          </a:prstGeom>
        </p:spPr>
      </p:pic>
      <p:pic>
        <p:nvPicPr>
          <p:cNvPr id="12" name="Graphique 11" descr="Mille avec un remplissage uni">
            <a:extLst>
              <a:ext uri="{FF2B5EF4-FFF2-40B4-BE49-F238E27FC236}">
                <a16:creationId xmlns:a16="http://schemas.microsoft.com/office/drawing/2014/main" id="{A91A837D-FE9B-4CE4-893F-17CEF2C2DB4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79546" y="5392646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961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nos varia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E02C6F5-460E-4399-A34A-5CE6C5D382AD}"/>
              </a:ext>
            </a:extLst>
          </p:cNvPr>
          <p:cNvSpPr/>
          <p:nvPr/>
        </p:nvSpPr>
        <p:spPr>
          <a:xfrm>
            <a:off x="834544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id pour </a:t>
            </a:r>
            <a:r>
              <a:rPr lang="fr-FR" sz="2000" b="1" dirty="0">
                <a:solidFill>
                  <a:srgbClr val="2A0068"/>
                </a:solidFill>
              </a:rPr>
              <a:t>chaque demande de prêt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applicant_loan_id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018B0F0-DFB5-4CBA-858C-788C2113FBE9}"/>
              </a:ext>
            </a:extLst>
          </p:cNvPr>
          <p:cNvSpPr/>
          <p:nvPr/>
        </p:nvSpPr>
        <p:spPr>
          <a:xfrm>
            <a:off x="4416142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à prédire </a:t>
            </a:r>
            <a:r>
              <a:rPr lang="fr-FR" sz="2000" b="1" dirty="0">
                <a:solidFill>
                  <a:srgbClr val="2A0068"/>
                </a:solidFill>
              </a:rPr>
              <a:t>répartie en deux classes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target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FD3039C-6D01-4DA0-BF5D-E91ACD63B6C2}"/>
              </a:ext>
            </a:extLst>
          </p:cNvPr>
          <p:cNvSpPr/>
          <p:nvPr/>
        </p:nvSpPr>
        <p:spPr>
          <a:xfrm>
            <a:off x="7997740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0 variables </a:t>
            </a:r>
            <a:r>
              <a:rPr lang="fr-FR" sz="2000" b="1" dirty="0">
                <a:solidFill>
                  <a:srgbClr val="2A0068"/>
                </a:solidFill>
              </a:rPr>
              <a:t>déjà présentes </a:t>
            </a:r>
            <a:r>
              <a:rPr lang="fr-FR" sz="2000" dirty="0">
                <a:solidFill>
                  <a:srgbClr val="2A0068"/>
                </a:solidFill>
              </a:rPr>
              <a:t>dans nos différents data se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credit_payment_typ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pplicant_gender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6527E38-3770-4FB1-A2C3-68ED82220CAD}"/>
              </a:ext>
            </a:extLst>
          </p:cNvPr>
          <p:cNvSpPr/>
          <p:nvPr/>
        </p:nvSpPr>
        <p:spPr>
          <a:xfrm>
            <a:off x="834544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9 variables métiers créées </a:t>
            </a:r>
            <a:r>
              <a:rPr lang="fr-FR" sz="2000" b="1" dirty="0">
                <a:solidFill>
                  <a:srgbClr val="2A0068"/>
                </a:solidFill>
              </a:rPr>
              <a:t>à partir de nos connaissances du domaine 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applicant_ag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nnuity_share_to_income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53F448-D215-431B-9A63-76DE30093B6B}"/>
              </a:ext>
            </a:extLst>
          </p:cNvPr>
          <p:cNvSpPr/>
          <p:nvPr/>
        </p:nvSpPr>
        <p:spPr>
          <a:xfrm>
            <a:off x="4416142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6 variables créées sur la </a:t>
            </a:r>
            <a:r>
              <a:rPr lang="fr-FR" sz="2000" b="1" dirty="0">
                <a:solidFill>
                  <a:srgbClr val="2A0068"/>
                </a:solidFill>
              </a:rPr>
              <a:t>base d’agréga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bureau_count_past_loans, </a:t>
            </a:r>
            <a:r>
              <a:rPr lang="fr-FR" sz="1600" i="1" dirty="0" err="1">
                <a:solidFill>
                  <a:srgbClr val="2A0068"/>
                </a:solidFill>
              </a:rPr>
              <a:t>bureau_count_credit_prolongations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D29662A-40C5-4ED5-B149-9DA6FD7CA7C1}"/>
              </a:ext>
            </a:extLst>
          </p:cNvPr>
          <p:cNvSpPr/>
          <p:nvPr/>
        </p:nvSpPr>
        <p:spPr>
          <a:xfrm>
            <a:off x="7997740" y="3986790"/>
            <a:ext cx="3429372" cy="20285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>
                    <a:lumMod val="75000"/>
                  </a:schemeClr>
                </a:solidFill>
              </a:rPr>
              <a:t>1 variable utilisée pour le traitement </a:t>
            </a:r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mais supprimée avant la modalisation</a:t>
            </a:r>
          </a:p>
          <a:p>
            <a:pPr algn="ctr"/>
            <a:endParaRPr lang="fr-FR" sz="2000" i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fr-FR" sz="1600" i="1" dirty="0" err="1">
                <a:solidFill>
                  <a:schemeClr val="bg1">
                    <a:lumMod val="75000"/>
                  </a:schemeClr>
                </a:solidFill>
              </a:rPr>
              <a:t>type_of_set</a:t>
            </a:r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69762398-4E11-49BE-B1BF-AA6921023FD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4EA27F70-29B6-417C-BAA6-F4521369FBB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E42716F6-A29A-46DC-B18B-49F4A46138EF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9E8FAF2-E31B-482A-8A36-EC3EB76B062B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23">
            <a:extLst>
              <a:ext uri="{FF2B5EF4-FFF2-40B4-BE49-F238E27FC236}">
                <a16:creationId xmlns:a16="http://schemas.microsoft.com/office/drawing/2014/main" id="{05550772-90F5-4A95-A68E-F1FF46A000F3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335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68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9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olution du déséquilibre entre les classes à préd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A340A8-FF29-4822-8688-7854D21F5A20}"/>
              </a:ext>
            </a:extLst>
          </p:cNvPr>
          <p:cNvSpPr/>
          <p:nvPr/>
        </p:nvSpPr>
        <p:spPr>
          <a:xfrm>
            <a:off x="603190" y="2086302"/>
            <a:ext cx="5040000" cy="40395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Notre base de données est déséquilibrée du point de vue des classes qu’elles contient : 92% de nos clients remboursent leur prêt (valeur = 0) ; </a:t>
            </a:r>
            <a:r>
              <a:rPr lang="fr-FR" sz="2000" b="1" dirty="0">
                <a:solidFill>
                  <a:srgbClr val="2A0068"/>
                </a:solidFill>
              </a:rPr>
              <a:t>seulement 8% ne le remboursent pas </a:t>
            </a:r>
            <a:r>
              <a:rPr lang="fr-FR" sz="2000" dirty="0">
                <a:solidFill>
                  <a:srgbClr val="2A0068"/>
                </a:solidFill>
              </a:rPr>
              <a:t>(valeur = 1)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Alors que notre objectif reste bien de classifier ces clients en particulier, on sait que </a:t>
            </a:r>
            <a:r>
              <a:rPr lang="fr-FR" sz="2000" b="1" dirty="0">
                <a:solidFill>
                  <a:srgbClr val="2A0068"/>
                </a:solidFill>
              </a:rPr>
              <a:t>la plupart des algos fonctionnent mieux avec un nombre d’échantillon à peu près égal dans chaque class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Il y aura donc bien ici </a:t>
            </a:r>
            <a:r>
              <a:rPr lang="fr-FR" sz="2000" b="1" dirty="0">
                <a:solidFill>
                  <a:srgbClr val="2A0068"/>
                </a:solidFill>
              </a:rPr>
              <a:t>potentiellement une problématique de surreprésentation de la classe majoritaire dans la prédic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88A50B-7134-4D69-B0A2-074C84E2F1AA}"/>
              </a:ext>
            </a:extLst>
          </p:cNvPr>
          <p:cNvSpPr/>
          <p:nvPr/>
        </p:nvSpPr>
        <p:spPr>
          <a:xfrm>
            <a:off x="603190" y="1627771"/>
            <a:ext cx="5040000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Problématique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9AB9E3FC-6A84-4B4C-8682-CA237C11C429}"/>
              </a:ext>
            </a:extLst>
          </p:cNvPr>
          <p:cNvCxnSpPr/>
          <p:nvPr/>
        </p:nvCxnSpPr>
        <p:spPr>
          <a:xfrm flipV="1">
            <a:off x="603190" y="2022015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36A7B45-17BB-4215-A6B0-76E563D54192}"/>
              </a:ext>
            </a:extLst>
          </p:cNvPr>
          <p:cNvSpPr/>
          <p:nvPr/>
        </p:nvSpPr>
        <p:spPr>
          <a:xfrm>
            <a:off x="6297352" y="1627771"/>
            <a:ext cx="5364117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dirty="0">
                <a:solidFill>
                  <a:schemeClr val="bg1"/>
                </a:solidFill>
              </a:rPr>
              <a:t>Possibles s</a:t>
            </a:r>
            <a:r>
              <a:rPr lang="fr-FR" sz="1800" b="1" dirty="0">
                <a:solidFill>
                  <a:schemeClr val="bg1"/>
                </a:solidFill>
              </a:rPr>
              <a:t>olu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E624BB-48E2-4DCA-A98E-4B012379ED4F}"/>
              </a:ext>
            </a:extLst>
          </p:cNvPr>
          <p:cNvSpPr/>
          <p:nvPr/>
        </p:nvSpPr>
        <p:spPr>
          <a:xfrm>
            <a:off x="6447067" y="2167985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anger la </a:t>
            </a:r>
            <a:r>
              <a:rPr lang="fr-FR" sz="1800" b="1" dirty="0">
                <a:solidFill>
                  <a:srgbClr val="2A0068"/>
                </a:solidFill>
              </a:rPr>
              <a:t>structure au global </a:t>
            </a:r>
            <a:r>
              <a:rPr lang="fr-FR" sz="1800" dirty="0">
                <a:solidFill>
                  <a:srgbClr val="2A0068"/>
                </a:solidFill>
              </a:rPr>
              <a:t>de l’algorithm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4EDB21-5C9E-4362-B392-AEC6BFAAEA34}"/>
              </a:ext>
            </a:extLst>
          </p:cNvPr>
          <p:cNvSpPr/>
          <p:nvPr/>
        </p:nvSpPr>
        <p:spPr>
          <a:xfrm>
            <a:off x="6447067" y="3295922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ollecter plus de données </a:t>
            </a:r>
            <a:r>
              <a:rPr lang="fr-FR" sz="1800" dirty="0">
                <a:solidFill>
                  <a:srgbClr val="2A0068"/>
                </a:solidFill>
              </a:rPr>
              <a:t>sur la classe minoritai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E569E-484C-4090-A78E-7B43B2A8FFF3}"/>
              </a:ext>
            </a:extLst>
          </p:cNvPr>
          <p:cNvSpPr/>
          <p:nvPr/>
        </p:nvSpPr>
        <p:spPr>
          <a:xfrm>
            <a:off x="6447067" y="3857493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Dupliquer des individus sous-représentés </a:t>
            </a:r>
            <a:r>
              <a:rPr lang="fr-FR" sz="1800" dirty="0">
                <a:solidFill>
                  <a:srgbClr val="2A0068"/>
                </a:solidFill>
              </a:rPr>
              <a:t>(ici </a:t>
            </a:r>
            <a:r>
              <a:rPr lang="fr-FR" dirty="0">
                <a:solidFill>
                  <a:srgbClr val="2A0068"/>
                </a:solidFill>
              </a:rPr>
              <a:t>dans la </a:t>
            </a:r>
            <a:r>
              <a:rPr lang="fr-FR" sz="1800" dirty="0">
                <a:solidFill>
                  <a:srgbClr val="2A0068"/>
                </a:solidFill>
              </a:rPr>
              <a:t>classe minoritaire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AB185B8-1B3A-414D-BA3E-125752AA8845}"/>
              </a:ext>
            </a:extLst>
          </p:cNvPr>
          <p:cNvSpPr/>
          <p:nvPr/>
        </p:nvSpPr>
        <p:spPr>
          <a:xfrm>
            <a:off x="6447067" y="27411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Réduire le nombre d’individus </a:t>
            </a:r>
            <a:r>
              <a:rPr lang="fr-FR" sz="1800" dirty="0">
                <a:solidFill>
                  <a:srgbClr val="2A0068"/>
                </a:solidFill>
              </a:rPr>
              <a:t>dans la classe majoritair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9EA7AE8-A61B-41D0-B836-8918E618315D}"/>
              </a:ext>
            </a:extLst>
          </p:cNvPr>
          <p:cNvSpPr/>
          <p:nvPr/>
        </p:nvSpPr>
        <p:spPr>
          <a:xfrm>
            <a:off x="6439307" y="49898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oisir une </a:t>
            </a:r>
            <a:r>
              <a:rPr lang="fr-FR" sz="1800" b="1" dirty="0">
                <a:solidFill>
                  <a:srgbClr val="2A0068"/>
                </a:solidFill>
              </a:rPr>
              <a:t>métrique de performance adapté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9E10B43-EFAE-478A-8CB1-425FEB415AE5}"/>
              </a:ext>
            </a:extLst>
          </p:cNvPr>
          <p:cNvSpPr/>
          <p:nvPr/>
        </p:nvSpPr>
        <p:spPr>
          <a:xfrm>
            <a:off x="6439307" y="4419310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Pondération des observations</a:t>
            </a:r>
            <a:r>
              <a:rPr lang="fr-FR" sz="1800" dirty="0">
                <a:solidFill>
                  <a:srgbClr val="2A0068"/>
                </a:solidFill>
              </a:rPr>
              <a:t> dans le train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D51F6DC-36C0-416B-94F5-5C957D432784}"/>
              </a:ext>
            </a:extLst>
          </p:cNvPr>
          <p:cNvSpPr/>
          <p:nvPr/>
        </p:nvSpPr>
        <p:spPr>
          <a:xfrm>
            <a:off x="6439307" y="556382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réation d’individus « synthétiques »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2B8F66F-F96A-4566-9DDF-EDA50FAFB70B}"/>
              </a:ext>
            </a:extLst>
          </p:cNvPr>
          <p:cNvSpPr/>
          <p:nvPr/>
        </p:nvSpPr>
        <p:spPr>
          <a:xfrm>
            <a:off x="6301043" y="2250672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66A571E9-72D1-4EB3-9660-0643E406F936}"/>
              </a:ext>
            </a:extLst>
          </p:cNvPr>
          <p:cNvSpPr/>
          <p:nvPr/>
        </p:nvSpPr>
        <p:spPr>
          <a:xfrm>
            <a:off x="6301043" y="2818440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C4A17E42-E209-4A7E-9E74-5412A6726B82}"/>
              </a:ext>
            </a:extLst>
          </p:cNvPr>
          <p:cNvSpPr/>
          <p:nvPr/>
        </p:nvSpPr>
        <p:spPr>
          <a:xfrm>
            <a:off x="6301043" y="33890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3</a:t>
            </a: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643FF9D6-650D-4380-A2C1-51B0923100E6}"/>
              </a:ext>
            </a:extLst>
          </p:cNvPr>
          <p:cNvSpPr/>
          <p:nvPr/>
        </p:nvSpPr>
        <p:spPr>
          <a:xfrm>
            <a:off x="6301043" y="3933086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4</a:t>
            </a:r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D314EE55-7812-44C6-8DB1-E7E0307BC3BA}"/>
              </a:ext>
            </a:extLst>
          </p:cNvPr>
          <p:cNvCxnSpPr/>
          <p:nvPr/>
        </p:nvCxnSpPr>
        <p:spPr>
          <a:xfrm flipV="1">
            <a:off x="603190" y="6205699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riangle isocèle 50">
            <a:extLst>
              <a:ext uri="{FF2B5EF4-FFF2-40B4-BE49-F238E27FC236}">
                <a16:creationId xmlns:a16="http://schemas.microsoft.com/office/drawing/2014/main" id="{6825D1C2-8763-40DD-9A10-EDF39D4BF520}"/>
              </a:ext>
            </a:extLst>
          </p:cNvPr>
          <p:cNvSpPr/>
          <p:nvPr/>
        </p:nvSpPr>
        <p:spPr>
          <a:xfrm rot="5400000">
            <a:off x="5564036" y="3996766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ABEF-1F63-4E9B-B32C-4B37209E6C6D}"/>
              </a:ext>
            </a:extLst>
          </p:cNvPr>
          <p:cNvSpPr/>
          <p:nvPr/>
        </p:nvSpPr>
        <p:spPr>
          <a:xfrm>
            <a:off x="6429930" y="4394257"/>
            <a:ext cx="5229973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DF9368C-D7F8-4383-A766-8686CD732BF8}"/>
              </a:ext>
            </a:extLst>
          </p:cNvPr>
          <p:cNvSpPr/>
          <p:nvPr/>
        </p:nvSpPr>
        <p:spPr>
          <a:xfrm>
            <a:off x="7909862" y="6042000"/>
            <a:ext cx="2340000" cy="35881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Les solutions sélectionnées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85C5A6AD-83E0-421D-B39A-0EB602292B64}"/>
              </a:ext>
            </a:extLst>
          </p:cNvPr>
          <p:cNvSpPr/>
          <p:nvPr/>
        </p:nvSpPr>
        <p:spPr>
          <a:xfrm>
            <a:off x="6301043" y="4512325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5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345B60B4-6A70-4CF7-B2D6-D537618B7C37}"/>
              </a:ext>
            </a:extLst>
          </p:cNvPr>
          <p:cNvSpPr/>
          <p:nvPr/>
        </p:nvSpPr>
        <p:spPr>
          <a:xfrm>
            <a:off x="6301043" y="50919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6</a:t>
            </a: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B5EE5D0C-37DB-43EC-9623-5BC92BCBBC6D}"/>
              </a:ext>
            </a:extLst>
          </p:cNvPr>
          <p:cNvSpPr/>
          <p:nvPr/>
        </p:nvSpPr>
        <p:spPr>
          <a:xfrm>
            <a:off x="6297353" y="5658721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702445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8B85ABE125AF409A86B73326EFFAE5" ma:contentTypeVersion="13" ma:contentTypeDescription="Crée un document." ma:contentTypeScope="" ma:versionID="cfa2b84814ad0d4dc5902a099d18eada">
  <xsd:schema xmlns:xsd="http://www.w3.org/2001/XMLSchema" xmlns:xs="http://www.w3.org/2001/XMLSchema" xmlns:p="http://schemas.microsoft.com/office/2006/metadata/properties" xmlns:ns3="21c16e65-816f-4847-be88-731645291b21" xmlns:ns4="67c7d727-27e8-4526-a2a7-f89ba01a3409" targetNamespace="http://schemas.microsoft.com/office/2006/metadata/properties" ma:root="true" ma:fieldsID="1941e2dd5eb9c4a46146aa2eaafc37a7" ns3:_="" ns4:_="">
    <xsd:import namespace="21c16e65-816f-4847-be88-731645291b21"/>
    <xsd:import namespace="67c7d727-27e8-4526-a2a7-f89ba01a340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c16e65-816f-4847-be88-731645291b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c7d727-27e8-4526-a2a7-f89ba01a340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4E0BA49-AB2A-4044-9F15-987E41C6A1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c16e65-816f-4847-be88-731645291b21"/>
    <ds:schemaRef ds:uri="67c7d727-27e8-4526-a2a7-f89ba01a34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DCF7537-AB6C-4566-9821-DCC4778AF944}">
  <ds:schemaRefs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21c16e65-816f-4847-be88-731645291b2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7c7d727-27e8-4526-a2a7-f89ba01a3409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F8B2D13A-B571-47A0-B384-30EF6393E3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320</TotalTime>
  <Words>1213</Words>
  <Application>Microsoft Office PowerPoint</Application>
  <PresentationFormat>Grand écran</PresentationFormat>
  <Paragraphs>240</Paragraphs>
  <Slides>18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8</vt:i4>
      </vt:variant>
    </vt:vector>
  </HeadingPairs>
  <TitlesOfParts>
    <vt:vector size="25" baseType="lpstr">
      <vt:lpstr>Arial</vt:lpstr>
      <vt:lpstr>Baloo</vt:lpstr>
      <vt:lpstr>Calibri</vt:lpstr>
      <vt:lpstr>Calibri Light</vt:lpstr>
      <vt:lpstr>Trebuchet MS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astoriadis Pauline</dc:creator>
  <cp:lastModifiedBy>CASTORIADIS Pauline</cp:lastModifiedBy>
  <cp:revision>115</cp:revision>
  <dcterms:created xsi:type="dcterms:W3CDTF">2021-01-14T09:36:12Z</dcterms:created>
  <dcterms:modified xsi:type="dcterms:W3CDTF">2022-04-06T16:4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8B85ABE125AF409A86B73326EFFAE5</vt:lpwstr>
  </property>
</Properties>
</file>